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6"/>
  </p:notesMasterIdLst>
  <p:sldIdLst>
    <p:sldId id="2147375779" r:id="rId5"/>
  </p:sldIdLst>
  <p:sldSz cx="12192000" cy="6858000"/>
  <p:notesSz cx="6858000" cy="9144000"/>
  <p:custDataLst>
    <p:tags r:id="rId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779"/>
          </p14:sldIdLst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3C7A1"/>
    <a:srgbClr val="AEE7D7"/>
    <a:srgbClr val="F0C7D7"/>
    <a:srgbClr val="FDE7D2"/>
    <a:srgbClr val="CDC1F2"/>
    <a:srgbClr val="FBF0F4"/>
    <a:srgbClr val="C6F5E9"/>
    <a:srgbClr val="F1ECFF"/>
    <a:srgbClr val="F4D0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28" autoAdjust="0"/>
    <p:restoredTop sz="94694"/>
  </p:normalViewPr>
  <p:slideViewPr>
    <p:cSldViewPr snapToGrid="0">
      <p:cViewPr varScale="1">
        <p:scale>
          <a:sx n="117" d="100"/>
          <a:sy n="117" d="100"/>
        </p:scale>
        <p:origin x="58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 Kuche" userId="S::stephan.kuche@hypatos.ai::02f15082-7848-48ac-830f-3af9db319dee" providerId="AD" clId="Web-{2451D80D-64F3-DE35-621B-6A9B23D27D4E}"/>
    <pc:docChg chg="modSld">
      <pc:chgData name="Stephan Kuche" userId="S::stephan.kuche@hypatos.ai::02f15082-7848-48ac-830f-3af9db319dee" providerId="AD" clId="Web-{2451D80D-64F3-DE35-621B-6A9B23D27D4E}" dt="2023-09-20T14:39:26.572" v="3"/>
      <pc:docMkLst>
        <pc:docMk/>
      </pc:docMkLst>
      <pc:sldChg chg="addSp delSp modSp">
        <pc:chgData name="Stephan Kuche" userId="S::stephan.kuche@hypatos.ai::02f15082-7848-48ac-830f-3af9db319dee" providerId="AD" clId="Web-{2451D80D-64F3-DE35-621B-6A9B23D27D4E}" dt="2023-09-20T14:39:26.572" v="3"/>
        <pc:sldMkLst>
          <pc:docMk/>
          <pc:sldMk cId="2079069808" sldId="2147375751"/>
        </pc:sldMkLst>
        <pc:picChg chg="add del mod">
          <ac:chgData name="Stephan Kuche" userId="S::stephan.kuche@hypatos.ai::02f15082-7848-48ac-830f-3af9db319dee" providerId="AD" clId="Web-{2451D80D-64F3-DE35-621B-6A9B23D27D4E}" dt="2023-09-20T13:35:32.869" v="2"/>
          <ac:picMkLst>
            <pc:docMk/>
            <pc:sldMk cId="2079069808" sldId="2147375751"/>
            <ac:picMk id="7" creationId="{9BE2EA56-E43D-BB78-1023-A78121207CED}"/>
          </ac:picMkLst>
        </pc:picChg>
        <pc:picChg chg="mod">
          <ac:chgData name="Stephan Kuche" userId="S::stephan.kuche@hypatos.ai::02f15082-7848-48ac-830f-3af9db319dee" providerId="AD" clId="Web-{2451D80D-64F3-DE35-621B-6A9B23D27D4E}" dt="2023-09-20T14:39:26.572" v="3"/>
          <ac:picMkLst>
            <pc:docMk/>
            <pc:sldMk cId="2079069808" sldId="2147375751"/>
            <ac:picMk id="9" creationId="{80B0B709-A43D-73EF-D486-CA7769601863}"/>
          </ac:picMkLst>
        </pc:picChg>
      </pc:sldChg>
    </pc:docChg>
  </pc:docChgLst>
  <pc:docChgLst>
    <pc:chgData name="Jorge Costa" userId="6f0ed375-7d90-4a84-93f2-03ffaae48f30" providerId="ADAL" clId="{03E48706-ED28-4E40-9B7D-8C36692CE558}"/>
    <pc:docChg chg="undo redo custSel addSld delSld modSld sldOrd modSection replTag">
      <pc:chgData name="Jorge Costa" userId="6f0ed375-7d90-4a84-93f2-03ffaae48f30" providerId="ADAL" clId="{03E48706-ED28-4E40-9B7D-8C36692CE558}" dt="2023-10-04T12:50:19.223" v="101152" actId="20577"/>
      <pc:docMkLst>
        <pc:docMk/>
      </pc:docMkLst>
      <pc:sldChg chg="addSp delSp modSp mod">
        <pc:chgData name="Jorge Costa" userId="6f0ed375-7d90-4a84-93f2-03ffaae48f30" providerId="ADAL" clId="{03E48706-ED28-4E40-9B7D-8C36692CE558}" dt="2023-10-04T12:50:19.223" v="101152" actId="20577"/>
        <pc:sldMkLst>
          <pc:docMk/>
          <pc:sldMk cId="3964595047" sldId="327"/>
        </pc:sldMkLst>
        <pc:spChg chg="mod">
          <ac:chgData name="Jorge Costa" userId="6f0ed375-7d90-4a84-93f2-03ffaae48f30" providerId="ADAL" clId="{03E48706-ED28-4E40-9B7D-8C36692CE558}" dt="2023-10-04T12:50:19.223" v="101152" actId="20577"/>
          <ac:spMkLst>
            <pc:docMk/>
            <pc:sldMk cId="3964595047" sldId="327"/>
            <ac:spMk id="4" creationId="{181436A4-2142-D060-55E8-64356F7A9DDF}"/>
          </ac:spMkLst>
        </pc:spChg>
        <pc:picChg chg="add mod">
          <ac:chgData name="Jorge Costa" userId="6f0ed375-7d90-4a84-93f2-03ffaae48f30" providerId="ADAL" clId="{03E48706-ED28-4E40-9B7D-8C36692CE558}" dt="2023-09-19T12:24:32.592" v="8" actId="1076"/>
          <ac:picMkLst>
            <pc:docMk/>
            <pc:sldMk cId="3964595047" sldId="327"/>
            <ac:picMk id="7" creationId="{0CF2D8DB-B263-EA49-1470-FA39C2B2D151}"/>
          </ac:picMkLst>
        </pc:picChg>
        <pc:picChg chg="del">
          <ac:chgData name="Jorge Costa" userId="6f0ed375-7d90-4a84-93f2-03ffaae48f30" providerId="ADAL" clId="{03E48706-ED28-4E40-9B7D-8C36692CE558}" dt="2023-09-19T12:23:52.450" v="0" actId="478"/>
          <ac:picMkLst>
            <pc:docMk/>
            <pc:sldMk cId="3964595047" sldId="327"/>
            <ac:picMk id="11" creationId="{3D4270B9-3081-C870-C8FE-6DACCD15D2AD}"/>
          </ac:picMkLst>
        </pc:picChg>
      </pc:sldChg>
      <pc:sldChg chg="addSp delSp modSp add del mod">
        <pc:chgData name="Jorge Costa" userId="6f0ed375-7d90-4a84-93f2-03ffaae48f30" providerId="ADAL" clId="{03E48706-ED28-4E40-9B7D-8C36692CE558}" dt="2023-09-20T12:47:18.030" v="13064" actId="47"/>
        <pc:sldMkLst>
          <pc:docMk/>
          <pc:sldMk cId="3426611490" sldId="2147375349"/>
        </pc:sldMkLst>
        <pc:spChg chg="add del">
          <ac:chgData name="Jorge Costa" userId="6f0ed375-7d90-4a84-93f2-03ffaae48f30" providerId="ADAL" clId="{03E48706-ED28-4E40-9B7D-8C36692CE558}" dt="2023-09-20T12:39:04.073" v="6626"/>
          <ac:spMkLst>
            <pc:docMk/>
            <pc:sldMk cId="3426611490" sldId="2147375349"/>
            <ac:spMk id="4" creationId="{95086B06-7F12-098D-613F-8DCAFF4193A4}"/>
          </ac:spMkLst>
        </pc:spChg>
        <pc:spChg chg="add del">
          <ac:chgData name="Jorge Costa" userId="6f0ed375-7d90-4a84-93f2-03ffaae48f30" providerId="ADAL" clId="{03E48706-ED28-4E40-9B7D-8C36692CE558}" dt="2023-09-20T12:39:04.104" v="6698"/>
          <ac:spMkLst>
            <pc:docMk/>
            <pc:sldMk cId="3426611490" sldId="2147375349"/>
            <ac:spMk id="5" creationId="{DE547890-3B94-4F90-9D0A-C3535E6BA1B2}"/>
          </ac:spMkLst>
        </pc:spChg>
        <pc:spChg chg="add del">
          <ac:chgData name="Jorge Costa" userId="6f0ed375-7d90-4a84-93f2-03ffaae48f30" providerId="ADAL" clId="{03E48706-ED28-4E40-9B7D-8C36692CE558}" dt="2023-09-20T12:39:04.057" v="6579"/>
          <ac:spMkLst>
            <pc:docMk/>
            <pc:sldMk cId="3426611490" sldId="2147375349"/>
            <ac:spMk id="7" creationId="{C54806D1-B96A-9A0C-6F50-670F1B87392A}"/>
          </ac:spMkLst>
        </pc:spChg>
        <pc:spChg chg="add del">
          <ac:chgData name="Jorge Costa" userId="6f0ed375-7d90-4a84-93f2-03ffaae48f30" providerId="ADAL" clId="{03E48706-ED28-4E40-9B7D-8C36692CE558}" dt="2023-09-20T12:39:04.073" v="6625"/>
          <ac:spMkLst>
            <pc:docMk/>
            <pc:sldMk cId="3426611490" sldId="2147375349"/>
            <ac:spMk id="8" creationId="{B6E65DE1-3CD7-9010-ADD7-43A6EA19341F}"/>
          </ac:spMkLst>
        </pc:spChg>
        <pc:spChg chg="add del">
          <ac:chgData name="Jorge Costa" userId="6f0ed375-7d90-4a84-93f2-03ffaae48f30" providerId="ADAL" clId="{03E48706-ED28-4E40-9B7D-8C36692CE558}" dt="2023-09-20T12:39:04.073" v="6624"/>
          <ac:spMkLst>
            <pc:docMk/>
            <pc:sldMk cId="3426611490" sldId="2147375349"/>
            <ac:spMk id="9" creationId="{0BA522D5-1891-3C32-7633-5C91AEA4C6EF}"/>
          </ac:spMkLst>
        </pc:spChg>
        <pc:spChg chg="add del">
          <ac:chgData name="Jorge Costa" userId="6f0ed375-7d90-4a84-93f2-03ffaae48f30" providerId="ADAL" clId="{03E48706-ED28-4E40-9B7D-8C36692CE558}" dt="2023-09-20T12:39:04.073" v="6623"/>
          <ac:spMkLst>
            <pc:docMk/>
            <pc:sldMk cId="3426611490" sldId="2147375349"/>
            <ac:spMk id="10" creationId="{000232DC-524C-9BAC-3C89-BFDEF382B3FF}"/>
          </ac:spMkLst>
        </pc:spChg>
        <pc:spChg chg="add del">
          <ac:chgData name="Jorge Costa" userId="6f0ed375-7d90-4a84-93f2-03ffaae48f30" providerId="ADAL" clId="{03E48706-ED28-4E40-9B7D-8C36692CE558}" dt="2023-09-20T12:39:04.073" v="6622"/>
          <ac:spMkLst>
            <pc:docMk/>
            <pc:sldMk cId="3426611490" sldId="2147375349"/>
            <ac:spMk id="11" creationId="{FA9EBF1C-02CF-E4D9-0DCF-A1159D486169}"/>
          </ac:spMkLst>
        </pc:spChg>
        <pc:spChg chg="add del">
          <ac:chgData name="Jorge Costa" userId="6f0ed375-7d90-4a84-93f2-03ffaae48f30" providerId="ADAL" clId="{03E48706-ED28-4E40-9B7D-8C36692CE558}" dt="2023-09-20T12:39:04.073" v="6621"/>
          <ac:spMkLst>
            <pc:docMk/>
            <pc:sldMk cId="3426611490" sldId="2147375349"/>
            <ac:spMk id="12" creationId="{C2BBD52C-FABA-39F5-F799-6663DE77E7D0}"/>
          </ac:spMkLst>
        </pc:spChg>
        <pc:spChg chg="add del">
          <ac:chgData name="Jorge Costa" userId="6f0ed375-7d90-4a84-93f2-03ffaae48f30" providerId="ADAL" clId="{03E48706-ED28-4E40-9B7D-8C36692CE558}" dt="2023-09-20T12:39:04.073" v="6620"/>
          <ac:spMkLst>
            <pc:docMk/>
            <pc:sldMk cId="3426611490" sldId="2147375349"/>
            <ac:spMk id="13" creationId="{C2FD0224-3F34-9782-7D8B-1969BE23E0D8}"/>
          </ac:spMkLst>
        </pc:spChg>
        <pc:spChg chg="add del">
          <ac:chgData name="Jorge Costa" userId="6f0ed375-7d90-4a84-93f2-03ffaae48f30" providerId="ADAL" clId="{03E48706-ED28-4E40-9B7D-8C36692CE558}" dt="2023-09-20T12:39:04.120" v="6728"/>
          <ac:spMkLst>
            <pc:docMk/>
            <pc:sldMk cId="3426611490" sldId="2147375349"/>
            <ac:spMk id="19" creationId="{B2FAEE19-3FA6-9448-FAD9-137E4808CB92}"/>
          </ac:spMkLst>
        </pc:spChg>
        <pc:spChg chg="add del">
          <ac:chgData name="Jorge Costa" userId="6f0ed375-7d90-4a84-93f2-03ffaae48f30" providerId="ADAL" clId="{03E48706-ED28-4E40-9B7D-8C36692CE558}" dt="2023-09-20T12:39:04.073" v="6605"/>
          <ac:spMkLst>
            <pc:docMk/>
            <pc:sldMk cId="3426611490" sldId="2147375349"/>
            <ac:spMk id="23" creationId="{4E315A32-0CEA-AAA4-979D-DACF89E037F2}"/>
          </ac:spMkLst>
        </pc:spChg>
        <pc:spChg chg="add del">
          <ac:chgData name="Jorge Costa" userId="6f0ed375-7d90-4a84-93f2-03ffaae48f30" providerId="ADAL" clId="{03E48706-ED28-4E40-9B7D-8C36692CE558}" dt="2023-09-20T12:39:04.073" v="6602"/>
          <ac:spMkLst>
            <pc:docMk/>
            <pc:sldMk cId="3426611490" sldId="2147375349"/>
            <ac:spMk id="25" creationId="{AC412039-88D4-9668-28A9-6DCB035D4ED2}"/>
          </ac:spMkLst>
        </pc:spChg>
        <pc:spChg chg="add del">
          <ac:chgData name="Jorge Costa" userId="6f0ed375-7d90-4a84-93f2-03ffaae48f30" providerId="ADAL" clId="{03E48706-ED28-4E40-9B7D-8C36692CE558}" dt="2023-09-20T12:39:04.010" v="6454"/>
          <ac:spMkLst>
            <pc:docMk/>
            <pc:sldMk cId="3426611490" sldId="2147375349"/>
            <ac:spMk id="26" creationId="{E29B5EBA-BA8B-2B0C-0EC9-F8F3B08BBF5E}"/>
          </ac:spMkLst>
        </pc:spChg>
        <pc:spChg chg="del">
          <ac:chgData name="Jorge Costa" userId="6f0ed375-7d90-4a84-93f2-03ffaae48f30" providerId="ADAL" clId="{03E48706-ED28-4E40-9B7D-8C36692CE558}" dt="2023-09-20T12:39:04.104" v="6724"/>
          <ac:spMkLst>
            <pc:docMk/>
            <pc:sldMk cId="3426611490" sldId="2147375349"/>
            <ac:spMk id="31" creationId="{5C003D85-BA4C-74E8-BDCE-5AD04437DBA6}"/>
          </ac:spMkLst>
        </pc:spChg>
        <pc:spChg chg="add del">
          <ac:chgData name="Jorge Costa" userId="6f0ed375-7d90-4a84-93f2-03ffaae48f30" providerId="ADAL" clId="{03E48706-ED28-4E40-9B7D-8C36692CE558}" dt="2023-09-20T12:39:04.073" v="6609"/>
          <ac:spMkLst>
            <pc:docMk/>
            <pc:sldMk cId="3426611490" sldId="2147375349"/>
            <ac:spMk id="33" creationId="{E386AB91-B821-9CEC-5076-43C5B60D227A}"/>
          </ac:spMkLst>
        </pc:spChg>
        <pc:spChg chg="add del">
          <ac:chgData name="Jorge Costa" userId="6f0ed375-7d90-4a84-93f2-03ffaae48f30" providerId="ADAL" clId="{03E48706-ED28-4E40-9B7D-8C36692CE558}" dt="2023-09-20T12:39:04.042" v="6518"/>
          <ac:spMkLst>
            <pc:docMk/>
            <pc:sldMk cId="3426611490" sldId="2147375349"/>
            <ac:spMk id="35" creationId="{471D93F3-EE9B-B42D-4D2C-897EEE35AAFD}"/>
          </ac:spMkLst>
        </pc:spChg>
        <pc:spChg chg="add del">
          <ac:chgData name="Jorge Costa" userId="6f0ed375-7d90-4a84-93f2-03ffaae48f30" providerId="ADAL" clId="{03E48706-ED28-4E40-9B7D-8C36692CE558}" dt="2023-09-20T12:39:04.042" v="6517"/>
          <ac:spMkLst>
            <pc:docMk/>
            <pc:sldMk cId="3426611490" sldId="2147375349"/>
            <ac:spMk id="37" creationId="{E6B7B846-1ED1-5679-8B5D-3256C900F2D1}"/>
          </ac:spMkLst>
        </pc:spChg>
        <pc:spChg chg="add del">
          <ac:chgData name="Jorge Costa" userId="6f0ed375-7d90-4a84-93f2-03ffaae48f30" providerId="ADAL" clId="{03E48706-ED28-4E40-9B7D-8C36692CE558}" dt="2023-09-20T12:39:04.042" v="6514"/>
          <ac:spMkLst>
            <pc:docMk/>
            <pc:sldMk cId="3426611490" sldId="2147375349"/>
            <ac:spMk id="39" creationId="{0386B0F8-E595-8F1A-7808-2F154049B81E}"/>
          </ac:spMkLst>
        </pc:spChg>
        <pc:spChg chg="add del">
          <ac:chgData name="Jorge Costa" userId="6f0ed375-7d90-4a84-93f2-03ffaae48f30" providerId="ADAL" clId="{03E48706-ED28-4E40-9B7D-8C36692CE558}" dt="2023-09-20T12:39:04.026" v="6487"/>
          <ac:spMkLst>
            <pc:docMk/>
            <pc:sldMk cId="3426611490" sldId="2147375349"/>
            <ac:spMk id="40" creationId="{BF35B82D-03AC-6C86-9F95-ABB1AB60A159}"/>
          </ac:spMkLst>
        </pc:spChg>
        <pc:spChg chg="add del">
          <ac:chgData name="Jorge Costa" userId="6f0ed375-7d90-4a84-93f2-03ffaae48f30" providerId="ADAL" clId="{03E48706-ED28-4E40-9B7D-8C36692CE558}" dt="2023-09-20T12:39:04.042" v="6513"/>
          <ac:spMkLst>
            <pc:docMk/>
            <pc:sldMk cId="3426611490" sldId="2147375349"/>
            <ac:spMk id="41" creationId="{941E65EB-80FB-C20C-21D9-318C791D298E}"/>
          </ac:spMkLst>
        </pc:spChg>
        <pc:spChg chg="add del">
          <ac:chgData name="Jorge Costa" userId="6f0ed375-7d90-4a84-93f2-03ffaae48f30" providerId="ADAL" clId="{03E48706-ED28-4E40-9B7D-8C36692CE558}" dt="2023-09-20T12:39:04.026" v="6485"/>
          <ac:spMkLst>
            <pc:docMk/>
            <pc:sldMk cId="3426611490" sldId="2147375349"/>
            <ac:spMk id="42" creationId="{C2A03341-EE67-3866-AD5B-9E21078500B2}"/>
          </ac:spMkLst>
        </pc:spChg>
        <pc:spChg chg="add del">
          <ac:chgData name="Jorge Costa" userId="6f0ed375-7d90-4a84-93f2-03ffaae48f30" providerId="ADAL" clId="{03E48706-ED28-4E40-9B7D-8C36692CE558}" dt="2023-09-20T12:39:04.073" v="6619"/>
          <ac:spMkLst>
            <pc:docMk/>
            <pc:sldMk cId="3426611490" sldId="2147375349"/>
            <ac:spMk id="44" creationId="{28F0A579-796B-8664-F15F-CCDB0BADF8FA}"/>
          </ac:spMkLst>
        </pc:spChg>
        <pc:spChg chg="add del">
          <ac:chgData name="Jorge Costa" userId="6f0ed375-7d90-4a84-93f2-03ffaae48f30" providerId="ADAL" clId="{03E48706-ED28-4E40-9B7D-8C36692CE558}" dt="2023-09-20T12:39:04.026" v="6509"/>
          <ac:spMkLst>
            <pc:docMk/>
            <pc:sldMk cId="3426611490" sldId="2147375349"/>
            <ac:spMk id="46" creationId="{BC13C6F4-0551-79AE-D839-60E8376510F8}"/>
          </ac:spMkLst>
        </pc:spChg>
        <pc:spChg chg="add del">
          <ac:chgData name="Jorge Costa" userId="6f0ed375-7d90-4a84-93f2-03ffaae48f30" providerId="ADAL" clId="{03E48706-ED28-4E40-9B7D-8C36692CE558}" dt="2023-09-20T12:39:04.073" v="6618"/>
          <ac:spMkLst>
            <pc:docMk/>
            <pc:sldMk cId="3426611490" sldId="2147375349"/>
            <ac:spMk id="47" creationId="{D84CFF3C-E1EF-C83F-1650-D603A5C181D1}"/>
          </ac:spMkLst>
        </pc:spChg>
        <pc:spChg chg="add del">
          <ac:chgData name="Jorge Costa" userId="6f0ed375-7d90-4a84-93f2-03ffaae48f30" providerId="ADAL" clId="{03E48706-ED28-4E40-9B7D-8C36692CE558}" dt="2023-09-20T12:39:04.073" v="6617"/>
          <ac:spMkLst>
            <pc:docMk/>
            <pc:sldMk cId="3426611490" sldId="2147375349"/>
            <ac:spMk id="48" creationId="{1BFF4FD2-C762-B209-C653-62D8BB9B842A}"/>
          </ac:spMkLst>
        </pc:spChg>
        <pc:spChg chg="add del">
          <ac:chgData name="Jorge Costa" userId="6f0ed375-7d90-4a84-93f2-03ffaae48f30" providerId="ADAL" clId="{03E48706-ED28-4E40-9B7D-8C36692CE558}" dt="2023-09-20T12:39:04.073" v="6638"/>
          <ac:spMkLst>
            <pc:docMk/>
            <pc:sldMk cId="3426611490" sldId="2147375349"/>
            <ac:spMk id="49" creationId="{32DD23B8-706C-7438-21D4-03D4A3156460}"/>
          </ac:spMkLst>
        </pc:spChg>
        <pc:spChg chg="add del">
          <ac:chgData name="Jorge Costa" userId="6f0ed375-7d90-4a84-93f2-03ffaae48f30" providerId="ADAL" clId="{03E48706-ED28-4E40-9B7D-8C36692CE558}" dt="2023-09-20T12:39:04.073" v="6637"/>
          <ac:spMkLst>
            <pc:docMk/>
            <pc:sldMk cId="3426611490" sldId="2147375349"/>
            <ac:spMk id="50" creationId="{AB5C577F-C98E-0B08-354B-0684FAE5B40D}"/>
          </ac:spMkLst>
        </pc:spChg>
        <pc:spChg chg="add del">
          <ac:chgData name="Jorge Costa" userId="6f0ed375-7d90-4a84-93f2-03ffaae48f30" providerId="ADAL" clId="{03E48706-ED28-4E40-9B7D-8C36692CE558}" dt="2023-09-20T12:39:04.073" v="6616"/>
          <ac:spMkLst>
            <pc:docMk/>
            <pc:sldMk cId="3426611490" sldId="2147375349"/>
            <ac:spMk id="51" creationId="{FD36BC7C-ECE6-1C92-C94C-9328796B7A44}"/>
          </ac:spMkLst>
        </pc:spChg>
        <pc:spChg chg="add del">
          <ac:chgData name="Jorge Costa" userId="6f0ed375-7d90-4a84-93f2-03ffaae48f30" providerId="ADAL" clId="{03E48706-ED28-4E40-9B7D-8C36692CE558}" dt="2023-09-20T12:39:04.026" v="6497"/>
          <ac:spMkLst>
            <pc:docMk/>
            <pc:sldMk cId="3426611490" sldId="2147375349"/>
            <ac:spMk id="52" creationId="{49CE992C-0192-6BB4-D4B5-19901F03B490}"/>
          </ac:spMkLst>
        </pc:spChg>
        <pc:spChg chg="add del">
          <ac:chgData name="Jorge Costa" userId="6f0ed375-7d90-4a84-93f2-03ffaae48f30" providerId="ADAL" clId="{03E48706-ED28-4E40-9B7D-8C36692CE558}" dt="2023-09-20T12:39:04.042" v="6511"/>
          <ac:spMkLst>
            <pc:docMk/>
            <pc:sldMk cId="3426611490" sldId="2147375349"/>
            <ac:spMk id="5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73" v="6615"/>
          <ac:spMkLst>
            <pc:docMk/>
            <pc:sldMk cId="3426611490" sldId="2147375349"/>
            <ac:spMk id="54" creationId="{8A6F5B22-EB56-5568-FC82-35405F35B143}"/>
          </ac:spMkLst>
        </pc:spChg>
        <pc:spChg chg="add del">
          <ac:chgData name="Jorge Costa" userId="6f0ed375-7d90-4a84-93f2-03ffaae48f30" providerId="ADAL" clId="{03E48706-ED28-4E40-9B7D-8C36692CE558}" dt="2023-09-20T12:39:04.073" v="6636"/>
          <ac:spMkLst>
            <pc:docMk/>
            <pc:sldMk cId="3426611490" sldId="2147375349"/>
            <ac:spMk id="55" creationId="{F7DF730E-18C1-2F7F-4D2F-BADCCA6A3A98}"/>
          </ac:spMkLst>
        </pc:spChg>
        <pc:spChg chg="add del">
          <ac:chgData name="Jorge Costa" userId="6f0ed375-7d90-4a84-93f2-03ffaae48f30" providerId="ADAL" clId="{03E48706-ED28-4E40-9B7D-8C36692CE558}" dt="2023-09-20T12:39:04.073" v="6635"/>
          <ac:spMkLst>
            <pc:docMk/>
            <pc:sldMk cId="3426611490" sldId="2147375349"/>
            <ac:spMk id="56" creationId="{FA8C2ACE-3CC5-05F4-EC93-CB551DA797DC}"/>
          </ac:spMkLst>
        </pc:spChg>
        <pc:spChg chg="add del">
          <ac:chgData name="Jorge Costa" userId="6f0ed375-7d90-4a84-93f2-03ffaae48f30" providerId="ADAL" clId="{03E48706-ED28-4E40-9B7D-8C36692CE558}" dt="2023-09-20T12:39:04.073" v="6608"/>
          <ac:spMkLst>
            <pc:docMk/>
            <pc:sldMk cId="3426611490" sldId="2147375349"/>
            <ac:spMk id="57" creationId="{B002170F-A4FD-B25A-DC25-8ABA06A4352E}"/>
          </ac:spMkLst>
        </pc:spChg>
        <pc:spChg chg="add del">
          <ac:chgData name="Jorge Costa" userId="6f0ed375-7d90-4a84-93f2-03ffaae48f30" providerId="ADAL" clId="{03E48706-ED28-4E40-9B7D-8C36692CE558}" dt="2023-09-20T12:39:04.073" v="6634"/>
          <ac:spMkLst>
            <pc:docMk/>
            <pc:sldMk cId="3426611490" sldId="2147375349"/>
            <ac:spMk id="59" creationId="{92BFC6B8-49F5-B564-8F0A-F416EC0D5CDC}"/>
          </ac:spMkLst>
        </pc:spChg>
        <pc:spChg chg="add del">
          <ac:chgData name="Jorge Costa" userId="6f0ed375-7d90-4a84-93f2-03ffaae48f30" providerId="ADAL" clId="{03E48706-ED28-4E40-9B7D-8C36692CE558}" dt="2023-09-20T12:39:04.073" v="6633"/>
          <ac:spMkLst>
            <pc:docMk/>
            <pc:sldMk cId="3426611490" sldId="2147375349"/>
            <ac:spMk id="60" creationId="{C51F22CB-1923-BFFA-6100-168BFBBD5E53}"/>
          </ac:spMkLst>
        </pc:spChg>
        <pc:spChg chg="add del">
          <ac:chgData name="Jorge Costa" userId="6f0ed375-7d90-4a84-93f2-03ffaae48f30" providerId="ADAL" clId="{03E48706-ED28-4E40-9B7D-8C36692CE558}" dt="2023-09-20T12:39:04.073" v="6632"/>
          <ac:spMkLst>
            <pc:docMk/>
            <pc:sldMk cId="3426611490" sldId="2147375349"/>
            <ac:spMk id="61" creationId="{3391A9E8-CCB0-1937-CAFE-521EEE58F6B1}"/>
          </ac:spMkLst>
        </pc:spChg>
        <pc:spChg chg="add del">
          <ac:chgData name="Jorge Costa" userId="6f0ed375-7d90-4a84-93f2-03ffaae48f30" providerId="ADAL" clId="{03E48706-ED28-4E40-9B7D-8C36692CE558}" dt="2023-09-20T12:39:04.042" v="6516"/>
          <ac:spMkLst>
            <pc:docMk/>
            <pc:sldMk cId="3426611490" sldId="2147375349"/>
            <ac:spMk id="62" creationId="{D55F4EF5-0BF6-F97F-D88F-8AF056B6C070}"/>
          </ac:spMkLst>
        </pc:spChg>
        <pc:spChg chg="add del">
          <ac:chgData name="Jorge Costa" userId="6f0ed375-7d90-4a84-93f2-03ffaae48f30" providerId="ADAL" clId="{03E48706-ED28-4E40-9B7D-8C36692CE558}" dt="2023-09-20T12:39:04.073" v="6631"/>
          <ac:spMkLst>
            <pc:docMk/>
            <pc:sldMk cId="3426611490" sldId="2147375349"/>
            <ac:spMk id="63" creationId="{BF81139D-71A7-AC7F-BEBB-794692D804D8}"/>
          </ac:spMkLst>
        </pc:spChg>
        <pc:spChg chg="add del">
          <ac:chgData name="Jorge Costa" userId="6f0ed375-7d90-4a84-93f2-03ffaae48f30" providerId="ADAL" clId="{03E48706-ED28-4E40-9B7D-8C36692CE558}" dt="2023-09-20T12:39:04.042" v="6525"/>
          <ac:spMkLst>
            <pc:docMk/>
            <pc:sldMk cId="3426611490" sldId="2147375349"/>
            <ac:spMk id="65" creationId="{DCD4DD82-7127-F0D1-B9AD-CB3A04E52D2A}"/>
          </ac:spMkLst>
        </pc:spChg>
        <pc:spChg chg="add del">
          <ac:chgData name="Jorge Costa" userId="6f0ed375-7d90-4a84-93f2-03ffaae48f30" providerId="ADAL" clId="{03E48706-ED28-4E40-9B7D-8C36692CE558}" dt="2023-09-20T12:39:04.073" v="6630"/>
          <ac:spMkLst>
            <pc:docMk/>
            <pc:sldMk cId="3426611490" sldId="2147375349"/>
            <ac:spMk id="66" creationId="{0ADCAF78-65B3-0FAB-6C1F-ECE9985A602C}"/>
          </ac:spMkLst>
        </pc:spChg>
        <pc:spChg chg="add del">
          <ac:chgData name="Jorge Costa" userId="6f0ed375-7d90-4a84-93f2-03ffaae48f30" providerId="ADAL" clId="{03E48706-ED28-4E40-9B7D-8C36692CE558}" dt="2023-09-20T12:39:04.073" v="6629"/>
          <ac:spMkLst>
            <pc:docMk/>
            <pc:sldMk cId="3426611490" sldId="2147375349"/>
            <ac:spMk id="67" creationId="{B3CC53F7-62AE-718E-D942-3B816C67A4F4}"/>
          </ac:spMkLst>
        </pc:spChg>
        <pc:spChg chg="add del">
          <ac:chgData name="Jorge Costa" userId="6f0ed375-7d90-4a84-93f2-03ffaae48f30" providerId="ADAL" clId="{03E48706-ED28-4E40-9B7D-8C36692CE558}" dt="2023-09-20T12:39:04.073" v="6628"/>
          <ac:spMkLst>
            <pc:docMk/>
            <pc:sldMk cId="3426611490" sldId="2147375349"/>
            <ac:spMk id="70" creationId="{5AC34397-6FF8-B2D7-6052-03A6BE9502D6}"/>
          </ac:spMkLst>
        </pc:spChg>
        <pc:spChg chg="add del">
          <ac:chgData name="Jorge Costa" userId="6f0ed375-7d90-4a84-93f2-03ffaae48f30" providerId="ADAL" clId="{03E48706-ED28-4E40-9B7D-8C36692CE558}" dt="2023-09-20T12:39:04.073" v="6627"/>
          <ac:spMkLst>
            <pc:docMk/>
            <pc:sldMk cId="3426611490" sldId="2147375349"/>
            <ac:spMk id="71" creationId="{001349EF-79E5-BD9E-F439-D820483BC343}"/>
          </ac:spMkLst>
        </pc:spChg>
        <pc:spChg chg="add del">
          <ac:chgData name="Jorge Costa" userId="6f0ed375-7d90-4a84-93f2-03ffaae48f30" providerId="ADAL" clId="{03E48706-ED28-4E40-9B7D-8C36692CE558}" dt="2023-09-20T12:39:04.073" v="6613"/>
          <ac:spMkLst>
            <pc:docMk/>
            <pc:sldMk cId="3426611490" sldId="2147375349"/>
            <ac:spMk id="73" creationId="{0711969C-C282-F554-B7F6-80A8664CC0EC}"/>
          </ac:spMkLst>
        </pc:spChg>
        <pc:spChg chg="add del">
          <ac:chgData name="Jorge Costa" userId="6f0ed375-7d90-4a84-93f2-03ffaae48f30" providerId="ADAL" clId="{03E48706-ED28-4E40-9B7D-8C36692CE558}" dt="2023-09-20T12:39:04.073" v="6612"/>
          <ac:spMkLst>
            <pc:docMk/>
            <pc:sldMk cId="3426611490" sldId="2147375349"/>
            <ac:spMk id="74" creationId="{58A90EA8-32ED-7538-13D5-CD51454D9F71}"/>
          </ac:spMkLst>
        </pc:spChg>
        <pc:spChg chg="add del">
          <ac:chgData name="Jorge Costa" userId="6f0ed375-7d90-4a84-93f2-03ffaae48f30" providerId="ADAL" clId="{03E48706-ED28-4E40-9B7D-8C36692CE558}" dt="2023-09-20T12:39:04.073" v="6611"/>
          <ac:spMkLst>
            <pc:docMk/>
            <pc:sldMk cId="3426611490" sldId="2147375349"/>
            <ac:spMk id="75" creationId="{BBC91C07-417B-845A-E5BE-45F50D51E77B}"/>
          </ac:spMkLst>
        </pc:spChg>
        <pc:spChg chg="add del">
          <ac:chgData name="Jorge Costa" userId="6f0ed375-7d90-4a84-93f2-03ffaae48f30" providerId="ADAL" clId="{03E48706-ED28-4E40-9B7D-8C36692CE558}" dt="2023-09-20T12:39:04.073" v="6610"/>
          <ac:spMkLst>
            <pc:docMk/>
            <pc:sldMk cId="3426611490" sldId="2147375349"/>
            <ac:spMk id="76" creationId="{65EB7755-BFF8-EFBF-6262-46DDDFBC4ECD}"/>
          </ac:spMkLst>
        </pc:spChg>
        <pc:spChg chg="add del">
          <ac:chgData name="Jorge Costa" userId="6f0ed375-7d90-4a84-93f2-03ffaae48f30" providerId="ADAL" clId="{03E48706-ED28-4E40-9B7D-8C36692CE558}" dt="2023-09-20T12:39:04.073" v="6598"/>
          <ac:spMkLst>
            <pc:docMk/>
            <pc:sldMk cId="3426611490" sldId="2147375349"/>
            <ac:spMk id="77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91"/>
          <ac:spMkLst>
            <pc:docMk/>
            <pc:sldMk cId="3426611490" sldId="2147375349"/>
            <ac:spMk id="78" creationId="{43A34F3E-8AA0-2A5F-35F7-E5B1577D7BCE}"/>
          </ac:spMkLst>
        </pc:spChg>
        <pc:spChg chg="add del">
          <ac:chgData name="Jorge Costa" userId="6f0ed375-7d90-4a84-93f2-03ffaae48f30" providerId="ADAL" clId="{03E48706-ED28-4E40-9B7D-8C36692CE558}" dt="2023-09-20T12:39:04.057" v="6584"/>
          <ac:spMkLst>
            <pc:docMk/>
            <pc:sldMk cId="3426611490" sldId="2147375349"/>
            <ac:spMk id="79" creationId="{19834401-12A2-1754-C18D-3B69D237F0BC}"/>
          </ac:spMkLst>
        </pc:spChg>
        <pc:spChg chg="add del">
          <ac:chgData name="Jorge Costa" userId="6f0ed375-7d90-4a84-93f2-03ffaae48f30" providerId="ADAL" clId="{03E48706-ED28-4E40-9B7D-8C36692CE558}" dt="2023-09-20T12:39:04.042" v="6523"/>
          <ac:spMkLst>
            <pc:docMk/>
            <pc:sldMk cId="3426611490" sldId="2147375349"/>
            <ac:spMk id="80" creationId="{02F3B931-823F-4566-0173-A6DDC5355E26}"/>
          </ac:spMkLst>
        </pc:spChg>
        <pc:spChg chg="add del">
          <ac:chgData name="Jorge Costa" userId="6f0ed375-7d90-4a84-93f2-03ffaae48f30" providerId="ADAL" clId="{03E48706-ED28-4E40-9B7D-8C36692CE558}" dt="2023-09-20T12:39:04.057" v="6574"/>
          <ac:spMkLst>
            <pc:docMk/>
            <pc:sldMk cId="3426611490" sldId="2147375349"/>
            <ac:spMk id="81" creationId="{9D8FE765-AC18-FF60-8672-221A3C53FFC6}"/>
          </ac:spMkLst>
        </pc:spChg>
        <pc:spChg chg="add del">
          <ac:chgData name="Jorge Costa" userId="6f0ed375-7d90-4a84-93f2-03ffaae48f30" providerId="ADAL" clId="{03E48706-ED28-4E40-9B7D-8C36692CE558}" dt="2023-09-20T12:39:04.057" v="6560"/>
          <ac:spMkLst>
            <pc:docMk/>
            <pc:sldMk cId="3426611490" sldId="2147375349"/>
            <ac:spMk id="8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55"/>
          <ac:spMkLst>
            <pc:docMk/>
            <pc:sldMk cId="3426611490" sldId="2147375349"/>
            <ac:spMk id="84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42" v="6548"/>
          <ac:spMkLst>
            <pc:docMk/>
            <pc:sldMk cId="3426611490" sldId="2147375349"/>
            <ac:spMk id="85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42" v="6544"/>
          <ac:spMkLst>
            <pc:docMk/>
            <pc:sldMk cId="3426611490" sldId="2147375349"/>
            <ac:spMk id="86" creationId="{2DCD6315-EF3D-3938-9A2E-8CE34455B7A0}"/>
          </ac:spMkLst>
        </pc:spChg>
        <pc:spChg chg="add del">
          <ac:chgData name="Jorge Costa" userId="6f0ed375-7d90-4a84-93f2-03ffaae48f30" providerId="ADAL" clId="{03E48706-ED28-4E40-9B7D-8C36692CE558}" dt="2023-09-20T12:39:04.042" v="6536"/>
          <ac:spMkLst>
            <pc:docMk/>
            <pc:sldMk cId="3426611490" sldId="2147375349"/>
            <ac:spMk id="88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26" v="6469"/>
          <ac:spMkLst>
            <pc:docMk/>
            <pc:sldMk cId="3426611490" sldId="2147375349"/>
            <ac:spMk id="89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39"/>
          <ac:spMkLst>
            <pc:docMk/>
            <pc:sldMk cId="3426611490" sldId="2147375349"/>
            <ac:spMk id="90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52"/>
          <ac:spMkLst>
            <pc:docMk/>
            <pc:sldMk cId="3426611490" sldId="2147375349"/>
            <ac:spMk id="91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31"/>
          <ac:spMkLst>
            <pc:docMk/>
            <pc:sldMk cId="3426611490" sldId="2147375349"/>
            <ac:spMk id="92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59"/>
          <ac:spMkLst>
            <pc:docMk/>
            <pc:sldMk cId="3426611490" sldId="2147375349"/>
            <ac:spMk id="93" creationId="{5E0B3485-2FA9-35B8-D0C5-1BAF40EF7B3A}"/>
          </ac:spMkLst>
        </pc:spChg>
        <pc:spChg chg="add del">
          <ac:chgData name="Jorge Costa" userId="6f0ed375-7d90-4a84-93f2-03ffaae48f30" providerId="ADAL" clId="{03E48706-ED28-4E40-9B7D-8C36692CE558}" dt="2023-09-20T12:39:04.057" v="6558"/>
          <ac:spMkLst>
            <pc:docMk/>
            <pc:sldMk cId="3426611490" sldId="2147375349"/>
            <ac:spMk id="94" creationId="{6A3C5C65-A4E8-D958-A1D3-5A235FD587B0}"/>
          </ac:spMkLst>
        </pc:spChg>
        <pc:spChg chg="add del">
          <ac:chgData name="Jorge Costa" userId="6f0ed375-7d90-4a84-93f2-03ffaae48f30" providerId="ADAL" clId="{03E48706-ED28-4E40-9B7D-8C36692CE558}" dt="2023-09-20T12:39:04.057" v="6595"/>
          <ac:spMkLst>
            <pc:docMk/>
            <pc:sldMk cId="3426611490" sldId="2147375349"/>
            <ac:spMk id="95" creationId="{B7A35561-F513-5478-A237-29220F1157CE}"/>
          </ac:spMkLst>
        </pc:spChg>
        <pc:spChg chg="add del">
          <ac:chgData name="Jorge Costa" userId="6f0ed375-7d90-4a84-93f2-03ffaae48f30" providerId="ADAL" clId="{03E48706-ED28-4E40-9B7D-8C36692CE558}" dt="2023-09-20T12:39:04.057" v="6588"/>
          <ac:spMkLst>
            <pc:docMk/>
            <pc:sldMk cId="3426611490" sldId="2147375349"/>
            <ac:spMk id="97" creationId="{A883976F-372C-F1FB-76E4-E18FB5BF063B}"/>
          </ac:spMkLst>
        </pc:spChg>
        <pc:spChg chg="add del">
          <ac:chgData name="Jorge Costa" userId="6f0ed375-7d90-4a84-93f2-03ffaae48f30" providerId="ADAL" clId="{03E48706-ED28-4E40-9B7D-8C36692CE558}" dt="2023-09-20T12:39:04.057" v="6583"/>
          <ac:spMkLst>
            <pc:docMk/>
            <pc:sldMk cId="3426611490" sldId="2147375349"/>
            <ac:spMk id="99" creationId="{A21A70BE-48E0-4049-6E26-C73398D39BF0}"/>
          </ac:spMkLst>
        </pc:spChg>
        <pc:spChg chg="add del">
          <ac:chgData name="Jorge Costa" userId="6f0ed375-7d90-4a84-93f2-03ffaae48f30" providerId="ADAL" clId="{03E48706-ED28-4E40-9B7D-8C36692CE558}" dt="2023-09-20T12:39:04.057" v="6564"/>
          <ac:spMkLst>
            <pc:docMk/>
            <pc:sldMk cId="3426611490" sldId="2147375349"/>
            <ac:spMk id="101" creationId="{A257DF7D-D7DF-82B2-405E-6F73F0A5A485}"/>
          </ac:spMkLst>
        </pc:spChg>
        <pc:spChg chg="add del">
          <ac:chgData name="Jorge Costa" userId="6f0ed375-7d90-4a84-93f2-03ffaae48f30" providerId="ADAL" clId="{03E48706-ED28-4E40-9B7D-8C36692CE558}" dt="2023-09-20T12:39:04.104" v="6712"/>
          <ac:spMkLst>
            <pc:docMk/>
            <pc:sldMk cId="3426611490" sldId="2147375349"/>
            <ac:spMk id="110" creationId="{66C90CDF-728A-4ECE-973A-2E5DA549305F}"/>
          </ac:spMkLst>
        </pc:spChg>
        <pc:spChg chg="add del">
          <ac:chgData name="Jorge Costa" userId="6f0ed375-7d90-4a84-93f2-03ffaae48f30" providerId="ADAL" clId="{03E48706-ED28-4E40-9B7D-8C36692CE558}" dt="2023-09-20T12:39:04.104" v="6702"/>
          <ac:spMkLst>
            <pc:docMk/>
            <pc:sldMk cId="3426611490" sldId="2147375349"/>
            <ac:spMk id="119" creationId="{F706FFA6-7026-4609-857C-F7D3EF0E03DA}"/>
          </ac:spMkLst>
        </pc:spChg>
        <pc:spChg chg="add del">
          <ac:chgData name="Jorge Costa" userId="6f0ed375-7d90-4a84-93f2-03ffaae48f30" providerId="ADAL" clId="{03E48706-ED28-4E40-9B7D-8C36692CE558}" dt="2023-09-20T12:39:04.104" v="6704"/>
          <ac:spMkLst>
            <pc:docMk/>
            <pc:sldMk cId="3426611490" sldId="2147375349"/>
            <ac:spMk id="121" creationId="{4C7D2A15-A6F9-44C8-88F0-E3E65283237F}"/>
          </ac:spMkLst>
        </pc:spChg>
        <pc:spChg chg="add del">
          <ac:chgData name="Jorge Costa" userId="6f0ed375-7d90-4a84-93f2-03ffaae48f30" providerId="ADAL" clId="{03E48706-ED28-4E40-9B7D-8C36692CE558}" dt="2023-09-20T12:39:04.026" v="6476"/>
          <ac:spMkLst>
            <pc:docMk/>
            <pc:sldMk cId="3426611490" sldId="2147375349"/>
            <ac:spMk id="12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56"/>
          <ac:spMkLst>
            <pc:docMk/>
            <pc:sldMk cId="3426611490" sldId="2147375349"/>
            <ac:spMk id="124" creationId="{72633B23-323B-6063-BDF3-F69394163DF9}"/>
          </ac:spMkLst>
        </pc:spChg>
        <pc:spChg chg="add del">
          <ac:chgData name="Jorge Costa" userId="6f0ed375-7d90-4a84-93f2-03ffaae48f30" providerId="ADAL" clId="{03E48706-ED28-4E40-9B7D-8C36692CE558}" dt="2023-09-20T12:39:04.026" v="6504"/>
          <ac:spMkLst>
            <pc:docMk/>
            <pc:sldMk cId="3426611490" sldId="2147375349"/>
            <ac:spMk id="128" creationId="{C3B3FB8F-D242-01D0-1857-2705F5C32AEC}"/>
          </ac:spMkLst>
        </pc:spChg>
        <pc:spChg chg="add del">
          <ac:chgData name="Jorge Costa" userId="6f0ed375-7d90-4a84-93f2-03ffaae48f30" providerId="ADAL" clId="{03E48706-ED28-4E40-9B7D-8C36692CE558}" dt="2023-09-20T12:39:04.073" v="6606"/>
          <ac:spMkLst>
            <pc:docMk/>
            <pc:sldMk cId="3426611490" sldId="2147375349"/>
            <ac:spMk id="135" creationId="{71F823A8-5A51-4E5E-A2A3-CC09596B10D3}"/>
          </ac:spMkLst>
        </pc:spChg>
        <pc:spChg chg="add del">
          <ac:chgData name="Jorge Costa" userId="6f0ed375-7d90-4a84-93f2-03ffaae48f30" providerId="ADAL" clId="{03E48706-ED28-4E40-9B7D-8C36692CE558}" dt="2023-09-20T12:39:04.010" v="6434"/>
          <ac:spMkLst>
            <pc:docMk/>
            <pc:sldMk cId="3426611490" sldId="2147375349"/>
            <ac:spMk id="137" creationId="{F62090A5-45AA-48FF-9736-F941F08A1418}"/>
          </ac:spMkLst>
        </pc:spChg>
        <pc:spChg chg="add del">
          <ac:chgData name="Jorge Costa" userId="6f0ed375-7d90-4a84-93f2-03ffaae48f30" providerId="ADAL" clId="{03E48706-ED28-4E40-9B7D-8C36692CE558}" dt="2023-09-20T12:39:03.994" v="6427"/>
          <ac:spMkLst>
            <pc:docMk/>
            <pc:sldMk cId="3426611490" sldId="2147375349"/>
            <ac:spMk id="145" creationId="{0089CE91-691B-8134-9F6C-8E6BAC01F1B8}"/>
          </ac:spMkLst>
        </pc:spChg>
        <pc:spChg chg="add del">
          <ac:chgData name="Jorge Costa" userId="6f0ed375-7d90-4a84-93f2-03ffaae48f30" providerId="ADAL" clId="{03E48706-ED28-4E40-9B7D-8C36692CE558}" dt="2023-09-20T12:39:04.026" v="6479"/>
          <ac:spMkLst>
            <pc:docMk/>
            <pc:sldMk cId="3426611490" sldId="2147375349"/>
            <ac:spMk id="146" creationId="{E2538E6D-3E86-D990-F9E4-26CDF510B934}"/>
          </ac:spMkLst>
        </pc:spChg>
        <pc:spChg chg="add del">
          <ac:chgData name="Jorge Costa" userId="6f0ed375-7d90-4a84-93f2-03ffaae48f30" providerId="ADAL" clId="{03E48706-ED28-4E40-9B7D-8C36692CE558}" dt="2023-09-20T12:39:04.026" v="6477"/>
          <ac:spMkLst>
            <pc:docMk/>
            <pc:sldMk cId="3426611490" sldId="2147375349"/>
            <ac:spMk id="148" creationId="{2AE13D21-86B7-8998-6156-CDBB8A29E095}"/>
          </ac:spMkLst>
        </pc:spChg>
        <pc:spChg chg="add del">
          <ac:chgData name="Jorge Costa" userId="6f0ed375-7d90-4a84-93f2-03ffaae48f30" providerId="ADAL" clId="{03E48706-ED28-4E40-9B7D-8C36692CE558}" dt="2023-09-20T12:39:04.026" v="6493"/>
          <ac:spMkLst>
            <pc:docMk/>
            <pc:sldMk cId="3426611490" sldId="2147375349"/>
            <ac:spMk id="150" creationId="{2B0A0E05-8333-4E9A-9F07-28DF1BAC0DAB}"/>
          </ac:spMkLst>
        </pc:spChg>
        <pc:spChg chg="add del">
          <ac:chgData name="Jorge Costa" userId="6f0ed375-7d90-4a84-93f2-03ffaae48f30" providerId="ADAL" clId="{03E48706-ED28-4E40-9B7D-8C36692CE558}" dt="2023-09-20T12:39:04.073" v="6607"/>
          <ac:spMkLst>
            <pc:docMk/>
            <pc:sldMk cId="3426611490" sldId="2147375349"/>
            <ac:spMk id="152" creationId="{E32EF6BE-90AB-4504-81B1-268C4FA43D7B}"/>
          </ac:spMkLst>
        </pc:spChg>
        <pc:spChg chg="add del">
          <ac:chgData name="Jorge Costa" userId="6f0ed375-7d90-4a84-93f2-03ffaae48f30" providerId="ADAL" clId="{03E48706-ED28-4E40-9B7D-8C36692CE558}" dt="2023-09-20T12:39:04.026" v="6492"/>
          <ac:spMkLst>
            <pc:docMk/>
            <pc:sldMk cId="3426611490" sldId="2147375349"/>
            <ac:spMk id="153" creationId="{EA3E9A60-8EA6-4FD0-BDCF-F3BF988DD86C}"/>
          </ac:spMkLst>
        </pc:spChg>
        <pc:spChg chg="add del">
          <ac:chgData name="Jorge Costa" userId="6f0ed375-7d90-4a84-93f2-03ffaae48f30" providerId="ADAL" clId="{03E48706-ED28-4E40-9B7D-8C36692CE558}" dt="2023-09-20T12:39:04.042" v="6526"/>
          <ac:spMkLst>
            <pc:docMk/>
            <pc:sldMk cId="3426611490" sldId="2147375349"/>
            <ac:spMk id="154" creationId="{64544B2B-0DA2-4ECA-8524-9E13D93DFB05}"/>
          </ac:spMkLst>
        </pc:spChg>
        <pc:spChg chg="add del">
          <ac:chgData name="Jorge Costa" userId="6f0ed375-7d90-4a84-93f2-03ffaae48f30" providerId="ADAL" clId="{03E48706-ED28-4E40-9B7D-8C36692CE558}" dt="2023-09-20T12:39:04.073" v="6614"/>
          <ac:spMkLst>
            <pc:docMk/>
            <pc:sldMk cId="3426611490" sldId="2147375349"/>
            <ac:spMk id="156" creationId="{CCB1095E-ED0A-4BE0-8DB4-B5C5C49D9AA5}"/>
          </ac:spMkLst>
        </pc:spChg>
        <pc:spChg chg="add del">
          <ac:chgData name="Jorge Costa" userId="6f0ed375-7d90-4a84-93f2-03ffaae48f30" providerId="ADAL" clId="{03E48706-ED28-4E40-9B7D-8C36692CE558}" dt="2023-09-20T12:39:04.042" v="6527"/>
          <ac:spMkLst>
            <pc:docMk/>
            <pc:sldMk cId="3426611490" sldId="2147375349"/>
            <ac:spMk id="157" creationId="{964806DE-3CDB-499E-B51D-088ECE25494B}"/>
          </ac:spMkLst>
        </pc:spChg>
        <pc:spChg chg="add del">
          <ac:chgData name="Jorge Costa" userId="6f0ed375-7d90-4a84-93f2-03ffaae48f30" providerId="ADAL" clId="{03E48706-ED28-4E40-9B7D-8C36692CE558}" dt="2023-09-20T12:39:04.010" v="6433"/>
          <ac:spMkLst>
            <pc:docMk/>
            <pc:sldMk cId="3426611490" sldId="2147375349"/>
            <ac:spMk id="160" creationId="{84685980-A830-42C3-B267-40947649D010}"/>
          </ac:spMkLst>
        </pc:spChg>
        <pc:spChg chg="add del">
          <ac:chgData name="Jorge Costa" userId="6f0ed375-7d90-4a84-93f2-03ffaae48f30" providerId="ADAL" clId="{03E48706-ED28-4E40-9B7D-8C36692CE558}" dt="2023-09-20T12:39:04.104" v="6710"/>
          <ac:spMkLst>
            <pc:docMk/>
            <pc:sldMk cId="3426611490" sldId="2147375349"/>
            <ac:spMk id="161" creationId="{4DE26ECB-DD46-4F58-BBDA-5E527A48DB3F}"/>
          </ac:spMkLst>
        </pc:spChg>
        <pc:spChg chg="del">
          <ac:chgData name="Jorge Costa" userId="6f0ed375-7d90-4a84-93f2-03ffaae48f30" providerId="ADAL" clId="{03E48706-ED28-4E40-9B7D-8C36692CE558}" dt="2023-09-20T12:39:04.104" v="6706"/>
          <ac:spMkLst>
            <pc:docMk/>
            <pc:sldMk cId="3426611490" sldId="2147375349"/>
            <ac:spMk id="162" creationId="{850EEF5E-857E-4E6C-942B-DC77D99EDC57}"/>
          </ac:spMkLst>
        </pc:spChg>
        <pc:spChg chg="del">
          <ac:chgData name="Jorge Costa" userId="6f0ed375-7d90-4a84-93f2-03ffaae48f30" providerId="ADAL" clId="{03E48706-ED28-4E40-9B7D-8C36692CE558}" dt="2023-09-20T12:39:04.104" v="6700"/>
          <ac:spMkLst>
            <pc:docMk/>
            <pc:sldMk cId="3426611490" sldId="2147375349"/>
            <ac:spMk id="163" creationId="{41C8521E-13EE-4188-871B-8D3EC364F374}"/>
          </ac:spMkLst>
        </pc:spChg>
        <pc:spChg chg="add del">
          <ac:chgData name="Jorge Costa" userId="6f0ed375-7d90-4a84-93f2-03ffaae48f30" providerId="ADAL" clId="{03E48706-ED28-4E40-9B7D-8C36692CE558}" dt="2023-09-20T12:39:04.023" v="6465"/>
          <ac:spMkLst>
            <pc:docMk/>
            <pc:sldMk cId="3426611490" sldId="2147375349"/>
            <ac:spMk id="164" creationId="{FE118859-CD09-B2BB-61C3-DE05C553F263}"/>
          </ac:spMkLst>
        </pc:spChg>
        <pc:spChg chg="add del">
          <ac:chgData name="Jorge Costa" userId="6f0ed375-7d90-4a84-93f2-03ffaae48f30" providerId="ADAL" clId="{03E48706-ED28-4E40-9B7D-8C36692CE558}" dt="2023-09-20T12:39:04.023" v="6463"/>
          <ac:spMkLst>
            <pc:docMk/>
            <pc:sldMk cId="3426611490" sldId="2147375349"/>
            <ac:spMk id="167" creationId="{FF3F7D0C-D517-A738-44A2-272B87F20213}"/>
          </ac:spMkLst>
        </pc:spChg>
        <pc:spChg chg="add del">
          <ac:chgData name="Jorge Costa" userId="6f0ed375-7d90-4a84-93f2-03ffaae48f30" providerId="ADAL" clId="{03E48706-ED28-4E40-9B7D-8C36692CE558}" dt="2023-09-20T12:39:04.042" v="6551"/>
          <ac:spMkLst>
            <pc:docMk/>
            <pc:sldMk cId="3426611490" sldId="2147375349"/>
            <ac:spMk id="170" creationId="{AF549BF3-5AD7-1AF0-094C-11D610E42019}"/>
          </ac:spMkLst>
        </pc:spChg>
        <pc:spChg chg="add del">
          <ac:chgData name="Jorge Costa" userId="6f0ed375-7d90-4a84-93f2-03ffaae48f30" providerId="ADAL" clId="{03E48706-ED28-4E40-9B7D-8C36692CE558}" dt="2023-09-20T12:39:04.023" v="6461"/>
          <ac:spMkLst>
            <pc:docMk/>
            <pc:sldMk cId="3426611490" sldId="2147375349"/>
            <ac:spMk id="171" creationId="{4D808437-E3D0-9BA2-D1B6-301AE692F68D}"/>
          </ac:spMkLst>
        </pc:spChg>
        <pc:spChg chg="add del">
          <ac:chgData name="Jorge Costa" userId="6f0ed375-7d90-4a84-93f2-03ffaae48f30" providerId="ADAL" clId="{03E48706-ED28-4E40-9B7D-8C36692CE558}" dt="2023-09-20T12:39:04.010" v="6458"/>
          <ac:spMkLst>
            <pc:docMk/>
            <pc:sldMk cId="3426611490" sldId="2147375349"/>
            <ac:spMk id="172" creationId="{6D57F10F-2809-480E-A57A-599BCD0EB7D5}"/>
          </ac:spMkLst>
        </pc:spChg>
        <pc:spChg chg="add del">
          <ac:chgData name="Jorge Costa" userId="6f0ed375-7d90-4a84-93f2-03ffaae48f30" providerId="ADAL" clId="{03E48706-ED28-4E40-9B7D-8C36692CE558}" dt="2023-09-20T12:39:04.010" v="6457"/>
          <ac:spMkLst>
            <pc:docMk/>
            <pc:sldMk cId="3426611490" sldId="2147375349"/>
            <ac:spMk id="173" creationId="{A1F642FD-E1CC-4727-A926-EADF9FE71FBC}"/>
          </ac:spMkLst>
        </pc:spChg>
        <pc:spChg chg="add del">
          <ac:chgData name="Jorge Costa" userId="6f0ed375-7d90-4a84-93f2-03ffaae48f30" providerId="ADAL" clId="{03E48706-ED28-4E40-9B7D-8C36692CE558}" dt="2023-09-20T12:39:04.010" v="6459"/>
          <ac:spMkLst>
            <pc:docMk/>
            <pc:sldMk cId="3426611490" sldId="2147375349"/>
            <ac:spMk id="175" creationId="{C8782C69-CEA3-9B84-67B0-5981236109CA}"/>
          </ac:spMkLst>
        </pc:spChg>
        <pc:spChg chg="add del">
          <ac:chgData name="Jorge Costa" userId="6f0ed375-7d90-4a84-93f2-03ffaae48f30" providerId="ADAL" clId="{03E48706-ED28-4E40-9B7D-8C36692CE558}" dt="2023-09-20T12:39:04.026" v="6491"/>
          <ac:spMkLst>
            <pc:docMk/>
            <pc:sldMk cId="3426611490" sldId="2147375349"/>
            <ac:spMk id="176" creationId="{68B6DF58-456F-92D3-D422-2733D1D74EC6}"/>
          </ac:spMkLst>
        </pc:spChg>
        <pc:spChg chg="add del">
          <ac:chgData name="Jorge Costa" userId="6f0ed375-7d90-4a84-93f2-03ffaae48f30" providerId="ADAL" clId="{03E48706-ED28-4E40-9B7D-8C36692CE558}" dt="2023-09-20T12:39:04.026" v="6489"/>
          <ac:spMkLst>
            <pc:docMk/>
            <pc:sldMk cId="3426611490" sldId="2147375349"/>
            <ac:spMk id="178" creationId="{BE978501-1BB2-FD34-59EF-6113F9BBFD4D}"/>
          </ac:spMkLst>
        </pc:spChg>
        <pc:spChg chg="add del">
          <ac:chgData name="Jorge Costa" userId="6f0ed375-7d90-4a84-93f2-03ffaae48f30" providerId="ADAL" clId="{03E48706-ED28-4E40-9B7D-8C36692CE558}" dt="2023-09-20T12:39:04.026" v="6473"/>
          <ac:spMkLst>
            <pc:docMk/>
            <pc:sldMk cId="3426611490" sldId="2147375349"/>
            <ac:spMk id="183" creationId="{6551BA68-F210-770E-A892-F1B5EBC98C9D}"/>
          </ac:spMkLst>
        </pc:spChg>
        <pc:spChg chg="add del">
          <ac:chgData name="Jorge Costa" userId="6f0ed375-7d90-4a84-93f2-03ffaae48f30" providerId="ADAL" clId="{03E48706-ED28-4E40-9B7D-8C36692CE558}" dt="2023-09-20T12:39:04.104" v="6714"/>
          <ac:spMkLst>
            <pc:docMk/>
            <pc:sldMk cId="3426611490" sldId="2147375349"/>
            <ac:spMk id="186" creationId="{1B0DD5F5-8652-49E3-9E3D-E8BB9583D96D}"/>
          </ac:spMkLst>
        </pc:spChg>
        <pc:spChg chg="add del">
          <ac:chgData name="Jorge Costa" userId="6f0ed375-7d90-4a84-93f2-03ffaae48f30" providerId="ADAL" clId="{03E48706-ED28-4E40-9B7D-8C36692CE558}" dt="2023-09-20T12:39:04.026" v="6502"/>
          <ac:spMkLst>
            <pc:docMk/>
            <pc:sldMk cId="3426611490" sldId="2147375349"/>
            <ac:spMk id="190" creationId="{3A4B22DF-0D34-11EE-3201-49CBCB89CE7B}"/>
          </ac:spMkLst>
        </pc:spChg>
        <pc:spChg chg="add del">
          <ac:chgData name="Jorge Costa" userId="6f0ed375-7d90-4a84-93f2-03ffaae48f30" providerId="ADAL" clId="{03E48706-ED28-4E40-9B7D-8C36692CE558}" dt="2023-09-20T12:39:04.026" v="6500"/>
          <ac:spMkLst>
            <pc:docMk/>
            <pc:sldMk cId="3426611490" sldId="2147375349"/>
            <ac:spMk id="192" creationId="{E123F3D8-AC4D-96B7-3184-24C234D9789D}"/>
          </ac:spMkLst>
        </pc:spChg>
        <pc:spChg chg="add del">
          <ac:chgData name="Jorge Costa" userId="6f0ed375-7d90-4a84-93f2-03ffaae48f30" providerId="ADAL" clId="{03E48706-ED28-4E40-9B7D-8C36692CE558}" dt="2023-09-20T12:39:04.104" v="6720"/>
          <ac:spMkLst>
            <pc:docMk/>
            <pc:sldMk cId="3426611490" sldId="2147375349"/>
            <ac:spMk id="193" creationId="{EDCD7AC4-4765-416E-81C3-5782E47D781E}"/>
          </ac:spMkLst>
        </pc:spChg>
        <pc:spChg chg="add del">
          <ac:chgData name="Jorge Costa" userId="6f0ed375-7d90-4a84-93f2-03ffaae48f30" providerId="ADAL" clId="{03E48706-ED28-4E40-9B7D-8C36692CE558}" dt="2023-09-20T12:39:04.104" v="6718"/>
          <ac:spMkLst>
            <pc:docMk/>
            <pc:sldMk cId="3426611490" sldId="2147375349"/>
            <ac:spMk id="194" creationId="{D0E71B61-6131-4ABB-B3D1-707A5B6AE86A}"/>
          </ac:spMkLst>
        </pc:spChg>
        <pc:spChg chg="add del">
          <ac:chgData name="Jorge Costa" userId="6f0ed375-7d90-4a84-93f2-03ffaae48f30" providerId="ADAL" clId="{03E48706-ED28-4E40-9B7D-8C36692CE558}" dt="2023-09-20T12:39:04.026" v="6483"/>
          <ac:spMkLst>
            <pc:docMk/>
            <pc:sldMk cId="3426611490" sldId="2147375349"/>
            <ac:spMk id="195" creationId="{74300B81-AE34-8265-1B0F-0EC8FFA86630}"/>
          </ac:spMkLst>
        </pc:spChg>
        <pc:spChg chg="add del">
          <ac:chgData name="Jorge Costa" userId="6f0ed375-7d90-4a84-93f2-03ffaae48f30" providerId="ADAL" clId="{03E48706-ED28-4E40-9B7D-8C36692CE558}" dt="2023-09-20T12:39:04.026" v="6481"/>
          <ac:spMkLst>
            <pc:docMk/>
            <pc:sldMk cId="3426611490" sldId="2147375349"/>
            <ac:spMk id="197" creationId="{14A80189-53FD-C25E-ECC2-4EC388280F07}"/>
          </ac:spMkLst>
        </pc:spChg>
        <pc:spChg chg="add del">
          <ac:chgData name="Jorge Costa" userId="6f0ed375-7d90-4a84-93f2-03ffaae48f30" providerId="ADAL" clId="{03E48706-ED28-4E40-9B7D-8C36692CE558}" dt="2023-09-20T12:39:04.057" v="6567"/>
          <ac:spMkLst>
            <pc:docMk/>
            <pc:sldMk cId="3426611490" sldId="2147375349"/>
            <ac:spMk id="198" creationId="{C2B5B901-5914-4356-F4D1-C5C28813560A}"/>
          </ac:spMkLst>
        </pc:spChg>
        <pc:spChg chg="add del">
          <ac:chgData name="Jorge Costa" userId="6f0ed375-7d90-4a84-93f2-03ffaae48f30" providerId="ADAL" clId="{03E48706-ED28-4E40-9B7D-8C36692CE558}" dt="2023-09-20T12:39:04.057" v="6557"/>
          <ac:spMkLst>
            <pc:docMk/>
            <pc:sldMk cId="3426611490" sldId="2147375349"/>
            <ac:spMk id="199" creationId="{D79E10ED-EF71-413D-AFCD-E0610C3738EF}"/>
          </ac:spMkLst>
        </pc:spChg>
        <pc:spChg chg="add del">
          <ac:chgData name="Jorge Costa" userId="6f0ed375-7d90-4a84-93f2-03ffaae48f30" providerId="ADAL" clId="{03E48706-ED28-4E40-9B7D-8C36692CE558}" dt="2023-09-20T12:39:04.104" v="6726"/>
          <ac:spMkLst>
            <pc:docMk/>
            <pc:sldMk cId="3426611490" sldId="2147375349"/>
            <ac:spMk id="200" creationId="{90D0D4D6-C547-42E9-93CC-09FC7B324D35}"/>
          </ac:spMkLst>
        </pc:spChg>
        <pc:spChg chg="add del">
          <ac:chgData name="Jorge Costa" userId="6f0ed375-7d90-4a84-93f2-03ffaae48f30" providerId="ADAL" clId="{03E48706-ED28-4E40-9B7D-8C36692CE558}" dt="2023-09-20T12:39:04.057" v="6556"/>
          <ac:spMkLst>
            <pc:docMk/>
            <pc:sldMk cId="3426611490" sldId="2147375349"/>
            <ac:spMk id="202" creationId="{17D5E96D-52BF-45B1-A5BA-0812B7DBFEC9}"/>
          </ac:spMkLst>
        </pc:spChg>
        <pc:spChg chg="add del">
          <ac:chgData name="Jorge Costa" userId="6f0ed375-7d90-4a84-93f2-03ffaae48f30" providerId="ADAL" clId="{03E48706-ED28-4E40-9B7D-8C36692CE558}" dt="2023-09-20T12:39:04.104" v="6708"/>
          <ac:spMkLst>
            <pc:docMk/>
            <pc:sldMk cId="3426611490" sldId="2147375349"/>
            <ac:spMk id="216" creationId="{0226170B-F87C-4298-ACC8-0D630451FC91}"/>
          </ac:spMkLst>
        </pc:spChg>
        <pc:spChg chg="add del">
          <ac:chgData name="Jorge Costa" userId="6f0ed375-7d90-4a84-93f2-03ffaae48f30" providerId="ADAL" clId="{03E48706-ED28-4E40-9B7D-8C36692CE558}" dt="2023-09-20T12:39:04.104" v="6722"/>
          <ac:spMkLst>
            <pc:docMk/>
            <pc:sldMk cId="3426611490" sldId="2147375349"/>
            <ac:spMk id="218" creationId="{B3215002-50C8-4736-9161-2AF0FF69899C}"/>
          </ac:spMkLst>
        </pc:spChg>
        <pc:spChg chg="del">
          <ac:chgData name="Jorge Costa" userId="6f0ed375-7d90-4a84-93f2-03ffaae48f30" providerId="ADAL" clId="{03E48706-ED28-4E40-9B7D-8C36692CE558}" dt="2023-09-20T12:39:04.104" v="6694"/>
          <ac:spMkLst>
            <pc:docMk/>
            <pc:sldMk cId="3426611490" sldId="2147375349"/>
            <ac:spMk id="220" creationId="{F70830FD-3C55-4620-8A23-AB99C25A419F}"/>
          </ac:spMkLst>
        </pc:spChg>
        <pc:spChg chg="add del">
          <ac:chgData name="Jorge Costa" userId="6f0ed375-7d90-4a84-93f2-03ffaae48f30" providerId="ADAL" clId="{03E48706-ED28-4E40-9B7D-8C36692CE558}" dt="2023-09-20T12:39:04.104" v="6696"/>
          <ac:spMkLst>
            <pc:docMk/>
            <pc:sldMk cId="3426611490" sldId="2147375349"/>
            <ac:spMk id="221" creationId="{A94A7619-ED8B-4977-93F4-71641FA9FC11}"/>
          </ac:spMkLst>
        </pc:spChg>
        <pc:spChg chg="add del">
          <ac:chgData name="Jorge Costa" userId="6f0ed375-7d90-4a84-93f2-03ffaae48f30" providerId="ADAL" clId="{03E48706-ED28-4E40-9B7D-8C36692CE558}" dt="2023-09-20T12:39:04.104" v="6716"/>
          <ac:spMkLst>
            <pc:docMk/>
            <pc:sldMk cId="3426611490" sldId="2147375349"/>
            <ac:spMk id="222" creationId="{58E8C1B7-1315-44EA-9E30-12C049200065}"/>
          </ac:spMkLst>
        </pc:spChg>
        <pc:spChg chg="add del">
          <ac:chgData name="Jorge Costa" userId="6f0ed375-7d90-4a84-93f2-03ffaae48f30" providerId="ADAL" clId="{03E48706-ED28-4E40-9B7D-8C36692CE558}" dt="2023-09-20T12:39:04.042" v="6538"/>
          <ac:spMkLst>
            <pc:docMk/>
            <pc:sldMk cId="3426611490" sldId="2147375349"/>
            <ac:spMk id="223" creationId="{18A746B2-38B9-4A95-8F30-5DA2D73D235E}"/>
          </ac:spMkLst>
        </pc:spChg>
        <pc:spChg chg="add del">
          <ac:chgData name="Jorge Costa" userId="6f0ed375-7d90-4a84-93f2-03ffaae48f30" providerId="ADAL" clId="{03E48706-ED28-4E40-9B7D-8C36692CE558}" dt="2023-09-20T12:39:04.042" v="6537"/>
          <ac:spMkLst>
            <pc:docMk/>
            <pc:sldMk cId="3426611490" sldId="2147375349"/>
            <ac:spMk id="231" creationId="{C2598C1B-C395-490B-BFC4-B3E476D29140}"/>
          </ac:spMkLst>
        </pc:spChg>
        <pc:spChg chg="add del">
          <ac:chgData name="Jorge Costa" userId="6f0ed375-7d90-4a84-93f2-03ffaae48f30" providerId="ADAL" clId="{03E48706-ED28-4E40-9B7D-8C36692CE558}" dt="2023-09-20T12:39:04.057" v="6571"/>
          <ac:spMkLst>
            <pc:docMk/>
            <pc:sldMk cId="3426611490" sldId="2147375349"/>
            <ac:spMk id="512" creationId="{47C16A2D-C19A-A81A-93B4-E21674C5B2E8}"/>
          </ac:spMkLst>
        </pc:spChg>
        <pc:spChg chg="add del">
          <ac:chgData name="Jorge Costa" userId="6f0ed375-7d90-4a84-93f2-03ffaae48f30" providerId="ADAL" clId="{03E48706-ED28-4E40-9B7D-8C36692CE558}" dt="2023-09-20T12:39:04.042" v="6549"/>
          <ac:spMkLst>
            <pc:docMk/>
            <pc:sldMk cId="3426611490" sldId="2147375349"/>
            <ac:spMk id="514" creationId="{84D4930D-F835-1EC0-7CB8-07AC88F33430}"/>
          </ac:spMkLst>
        </pc:spChg>
        <pc:spChg chg="add del">
          <ac:chgData name="Jorge Costa" userId="6f0ed375-7d90-4a84-93f2-03ffaae48f30" providerId="ADAL" clId="{03E48706-ED28-4E40-9B7D-8C36692CE558}" dt="2023-09-20T12:39:04.042" v="6546"/>
          <ac:spMkLst>
            <pc:docMk/>
            <pc:sldMk cId="3426611490" sldId="2147375349"/>
            <ac:spMk id="515" creationId="{C8E5EAFB-1D46-97D6-D963-E5E42FCB2639}"/>
          </ac:spMkLst>
        </pc:spChg>
        <pc:spChg chg="add del">
          <ac:chgData name="Jorge Costa" userId="6f0ed375-7d90-4a84-93f2-03ffaae48f30" providerId="ADAL" clId="{03E48706-ED28-4E40-9B7D-8C36692CE558}" dt="2023-09-20T12:39:04.042" v="6542"/>
          <ac:spMkLst>
            <pc:docMk/>
            <pc:sldMk cId="3426611490" sldId="2147375349"/>
            <ac:spMk id="516" creationId="{368B704B-124E-61CF-6022-0DB9A8EA7688}"/>
          </ac:spMkLst>
        </pc:spChg>
        <pc:spChg chg="add del">
          <ac:chgData name="Jorge Costa" userId="6f0ed375-7d90-4a84-93f2-03ffaae48f30" providerId="ADAL" clId="{03E48706-ED28-4E40-9B7D-8C36692CE558}" dt="2023-09-20T12:39:04.057" v="6553"/>
          <ac:spMkLst>
            <pc:docMk/>
            <pc:sldMk cId="3426611490" sldId="2147375349"/>
            <ac:spMk id="517" creationId="{00E9490E-2782-946F-1C84-1A484C59B675}"/>
          </ac:spMkLst>
        </pc:spChg>
        <pc:spChg chg="add del">
          <ac:chgData name="Jorge Costa" userId="6f0ed375-7d90-4a84-93f2-03ffaae48f30" providerId="ADAL" clId="{03E48706-ED28-4E40-9B7D-8C36692CE558}" dt="2023-09-20T12:39:04.042" v="6532"/>
          <ac:spMkLst>
            <pc:docMk/>
            <pc:sldMk cId="3426611490" sldId="2147375349"/>
            <ac:spMk id="518" creationId="{50D6FF3E-DDE6-CFC7-9235-F7A503BEB4A9}"/>
          </ac:spMkLst>
        </pc:spChg>
        <pc:spChg chg="add del">
          <ac:chgData name="Jorge Costa" userId="6f0ed375-7d90-4a84-93f2-03ffaae48f30" providerId="ADAL" clId="{03E48706-ED28-4E40-9B7D-8C36692CE558}" dt="2023-09-20T12:39:04.042" v="6530"/>
          <ac:spMkLst>
            <pc:docMk/>
            <pc:sldMk cId="3426611490" sldId="2147375349"/>
            <ac:spMk id="519" creationId="{2CD806EE-8DA5-6311-C777-E935D3D368B3}"/>
          </ac:spMkLst>
        </pc:spChg>
        <pc:spChg chg="add del">
          <ac:chgData name="Jorge Costa" userId="6f0ed375-7d90-4a84-93f2-03ffaae48f30" providerId="ADAL" clId="{03E48706-ED28-4E40-9B7D-8C36692CE558}" dt="2023-09-20T12:39:04.042" v="6534"/>
          <ac:spMkLst>
            <pc:docMk/>
            <pc:sldMk cId="3426611490" sldId="2147375349"/>
            <ac:spMk id="520" creationId="{A787F098-9F48-226A-A3FD-901CA19D34AC}"/>
          </ac:spMkLst>
        </pc:spChg>
        <pc:spChg chg="add del">
          <ac:chgData name="Jorge Costa" userId="6f0ed375-7d90-4a84-93f2-03ffaae48f30" providerId="ADAL" clId="{03E48706-ED28-4E40-9B7D-8C36692CE558}" dt="2023-09-20T12:39:04.042" v="6520"/>
          <ac:spMkLst>
            <pc:docMk/>
            <pc:sldMk cId="3426611490" sldId="2147375349"/>
            <ac:spMk id="521" creationId="{5FFD2DE7-4F79-03E3-E6C3-FCCBC85648E5}"/>
          </ac:spMkLst>
        </pc:spChg>
        <pc:spChg chg="add del">
          <ac:chgData name="Jorge Costa" userId="6f0ed375-7d90-4a84-93f2-03ffaae48f30" providerId="ADAL" clId="{03E48706-ED28-4E40-9B7D-8C36692CE558}" dt="2023-09-20T12:39:04.042" v="6521"/>
          <ac:spMkLst>
            <pc:docMk/>
            <pc:sldMk cId="3426611490" sldId="2147375349"/>
            <ac:spMk id="522" creationId="{CEEEA4EC-12F5-598F-FCF5-7D281E2EBAC3}"/>
          </ac:spMkLst>
        </pc:spChg>
        <pc:spChg chg="add del">
          <ac:chgData name="Jorge Costa" userId="6f0ed375-7d90-4a84-93f2-03ffaae48f30" providerId="ADAL" clId="{03E48706-ED28-4E40-9B7D-8C36692CE558}" dt="2023-09-20T12:39:04.026" v="6498"/>
          <ac:spMkLst>
            <pc:docMk/>
            <pc:sldMk cId="3426611490" sldId="2147375349"/>
            <ac:spMk id="523" creationId="{22C1095F-E405-5C58-24FC-74E52472BF16}"/>
          </ac:spMkLst>
        </pc:spChg>
        <pc:spChg chg="add del">
          <ac:chgData name="Jorge Costa" userId="6f0ed375-7d90-4a84-93f2-03ffaae48f30" providerId="ADAL" clId="{03E48706-ED28-4E40-9B7D-8C36692CE558}" dt="2023-09-20T12:39:04.026" v="6474"/>
          <ac:spMkLst>
            <pc:docMk/>
            <pc:sldMk cId="3426611490" sldId="2147375349"/>
            <ac:spMk id="525" creationId="{060EE492-A2C3-8A41-E66E-967C096403A3}"/>
          </ac:spMkLst>
        </pc:spChg>
        <pc:spChg chg="add del">
          <ac:chgData name="Jorge Costa" userId="6f0ed375-7d90-4a84-93f2-03ffaae48f30" providerId="ADAL" clId="{03E48706-ED28-4E40-9B7D-8C36692CE558}" dt="2023-09-20T12:39:04.010" v="6450"/>
          <ac:spMkLst>
            <pc:docMk/>
            <pc:sldMk cId="3426611490" sldId="2147375349"/>
            <ac:spMk id="527" creationId="{74D07296-FB3E-EEE0-322C-C0FD420C8B7F}"/>
          </ac:spMkLst>
        </pc:spChg>
        <pc:spChg chg="add del">
          <ac:chgData name="Jorge Costa" userId="6f0ed375-7d90-4a84-93f2-03ffaae48f30" providerId="ADAL" clId="{03E48706-ED28-4E40-9B7D-8C36692CE558}" dt="2023-09-20T12:39:04.026" v="6508"/>
          <ac:spMkLst>
            <pc:docMk/>
            <pc:sldMk cId="3426611490" sldId="2147375349"/>
            <ac:spMk id="529" creationId="{3C87FB13-2595-5EB0-12B1-D75374B34E11}"/>
          </ac:spMkLst>
        </pc:spChg>
        <pc:spChg chg="add del">
          <ac:chgData name="Jorge Costa" userId="6f0ed375-7d90-4a84-93f2-03ffaae48f30" providerId="ADAL" clId="{03E48706-ED28-4E40-9B7D-8C36692CE558}" dt="2023-09-20T12:39:04.026" v="6507"/>
          <ac:spMkLst>
            <pc:docMk/>
            <pc:sldMk cId="3426611490" sldId="2147375349"/>
            <ac:spMk id="530" creationId="{17391DEA-B6B6-90D0-8087-A19012BBF2F2}"/>
          </ac:spMkLst>
        </pc:spChg>
        <pc:spChg chg="add del">
          <ac:chgData name="Jorge Costa" userId="6f0ed375-7d90-4a84-93f2-03ffaae48f30" providerId="ADAL" clId="{03E48706-ED28-4E40-9B7D-8C36692CE558}" dt="2023-09-20T12:39:04.010" v="6449"/>
          <ac:spMkLst>
            <pc:docMk/>
            <pc:sldMk cId="3426611490" sldId="2147375349"/>
            <ac:spMk id="531" creationId="{23D9E49D-4586-E6F5-B2EF-3E43EFCCB749}"/>
          </ac:spMkLst>
        </pc:spChg>
        <pc:spChg chg="add del">
          <ac:chgData name="Jorge Costa" userId="6f0ed375-7d90-4a84-93f2-03ffaae48f30" providerId="ADAL" clId="{03E48706-ED28-4E40-9B7D-8C36692CE558}" dt="2023-09-20T12:39:04.010" v="6441"/>
          <ac:spMkLst>
            <pc:docMk/>
            <pc:sldMk cId="3426611490" sldId="2147375349"/>
            <ac:spMk id="532" creationId="{592E2B46-AD0A-3A38-4784-384542287582}"/>
          </ac:spMkLst>
        </pc:spChg>
        <pc:spChg chg="add del">
          <ac:chgData name="Jorge Costa" userId="6f0ed375-7d90-4a84-93f2-03ffaae48f30" providerId="ADAL" clId="{03E48706-ED28-4E40-9B7D-8C36692CE558}" dt="2023-09-20T12:39:04.010" v="6437"/>
          <ac:spMkLst>
            <pc:docMk/>
            <pc:sldMk cId="3426611490" sldId="2147375349"/>
            <ac:spMk id="534" creationId="{743EB1ED-5BEB-3733-2BF9-4DF2997E5423}"/>
          </ac:spMkLst>
        </pc:spChg>
        <pc:spChg chg="add del">
          <ac:chgData name="Jorge Costa" userId="6f0ed375-7d90-4a84-93f2-03ffaae48f30" providerId="ADAL" clId="{03E48706-ED28-4E40-9B7D-8C36692CE558}" dt="2023-09-20T12:39:04.023" v="6467"/>
          <ac:spMkLst>
            <pc:docMk/>
            <pc:sldMk cId="3426611490" sldId="2147375349"/>
            <ac:spMk id="536" creationId="{6D260F32-9A46-4125-6A4A-820AAAA13895}"/>
          </ac:spMkLst>
        </pc:spChg>
        <pc:spChg chg="add del">
          <ac:chgData name="Jorge Costa" userId="6f0ed375-7d90-4a84-93f2-03ffaae48f30" providerId="ADAL" clId="{03E48706-ED28-4E40-9B7D-8C36692CE558}" dt="2023-09-20T12:39:04.010" v="6432"/>
          <ac:spMkLst>
            <pc:docMk/>
            <pc:sldMk cId="3426611490" sldId="2147375349"/>
            <ac:spMk id="537" creationId="{42794CD7-4AD8-9EF7-048E-76ED832A2ED3}"/>
          </ac:spMkLst>
        </pc:spChg>
        <pc:spChg chg="add del">
          <ac:chgData name="Jorge Costa" userId="6f0ed375-7d90-4a84-93f2-03ffaae48f30" providerId="ADAL" clId="{03E48706-ED28-4E40-9B7D-8C36692CE558}" dt="2023-09-20T12:39:03.994" v="6429"/>
          <ac:spMkLst>
            <pc:docMk/>
            <pc:sldMk cId="3426611490" sldId="2147375349"/>
            <ac:spMk id="538" creationId="{C37D9C87-D5F4-63D1-C19A-5B9460DC8EF5}"/>
          </ac:spMkLst>
        </pc:spChg>
        <pc:spChg chg="add del">
          <ac:chgData name="Jorge Costa" userId="6f0ed375-7d90-4a84-93f2-03ffaae48f30" providerId="ADAL" clId="{03E48706-ED28-4E40-9B7D-8C36692CE558}" dt="2023-09-20T12:39:04.010" v="6445"/>
          <ac:spMkLst>
            <pc:docMk/>
            <pc:sldMk cId="3426611490" sldId="2147375349"/>
            <ac:spMk id="547" creationId="{24AD7ED0-91B7-6B1C-15FF-972BC27770AA}"/>
          </ac:spMkLst>
        </pc:spChg>
        <pc:spChg chg="add del">
          <ac:chgData name="Jorge Costa" userId="6f0ed375-7d90-4a84-93f2-03ffaae48f30" providerId="ADAL" clId="{03E48706-ED28-4E40-9B7D-8C36692CE558}" dt="2023-09-20T12:39:04.010" v="6443"/>
          <ac:spMkLst>
            <pc:docMk/>
            <pc:sldMk cId="3426611490" sldId="2147375349"/>
            <ac:spMk id="564" creationId="{1A64C1F0-9072-836D-1E3C-FDB96EF4D215}"/>
          </ac:spMkLst>
        </pc:spChg>
        <pc:spChg chg="add del">
          <ac:chgData name="Jorge Costa" userId="6f0ed375-7d90-4a84-93f2-03ffaae48f30" providerId="ADAL" clId="{03E48706-ED28-4E40-9B7D-8C36692CE558}" dt="2023-09-20T12:39:04.026" v="6471"/>
          <ac:spMkLst>
            <pc:docMk/>
            <pc:sldMk cId="3426611490" sldId="2147375349"/>
            <ac:spMk id="568" creationId="{D8A7AFE1-B8B2-A7EE-13F3-649F75BEAF95}"/>
          </ac:spMkLst>
        </pc:spChg>
        <pc:spChg chg="add del">
          <ac:chgData name="Jorge Costa" userId="6f0ed375-7d90-4a84-93f2-03ffaae48f30" providerId="ADAL" clId="{03E48706-ED28-4E40-9B7D-8C36692CE558}" dt="2023-09-20T12:39:04.026" v="6470"/>
          <ac:spMkLst>
            <pc:docMk/>
            <pc:sldMk cId="3426611490" sldId="2147375349"/>
            <ac:spMk id="569" creationId="{FBD4CDB2-E77A-2D2A-9F6D-14E0DB17E402}"/>
          </ac:spMkLst>
        </pc:spChg>
        <pc:spChg chg="add del">
          <ac:chgData name="Jorge Costa" userId="6f0ed375-7d90-4a84-93f2-03ffaae48f30" providerId="ADAL" clId="{03E48706-ED28-4E40-9B7D-8C36692CE558}" dt="2023-09-20T12:39:04.010" v="6447"/>
          <ac:spMkLst>
            <pc:docMk/>
            <pc:sldMk cId="3426611490" sldId="2147375349"/>
            <ac:spMk id="571" creationId="{60D0794C-3B56-9F44-BD27-929D72E8B9ED}"/>
          </ac:spMkLst>
        </pc:spChg>
        <pc:spChg chg="add del">
          <ac:chgData name="Jorge Costa" userId="6f0ed375-7d90-4a84-93f2-03ffaae48f30" providerId="ADAL" clId="{03E48706-ED28-4E40-9B7D-8C36692CE558}" dt="2023-09-20T12:39:04.010" v="6446"/>
          <ac:spMkLst>
            <pc:docMk/>
            <pc:sldMk cId="3426611490" sldId="2147375349"/>
            <ac:spMk id="572" creationId="{7E01DCED-687B-F947-B9E0-C99790A37693}"/>
          </ac:spMkLst>
        </pc:spChg>
        <pc:spChg chg="add del">
          <ac:chgData name="Jorge Costa" userId="6f0ed375-7d90-4a84-93f2-03ffaae48f30" providerId="ADAL" clId="{03E48706-ED28-4E40-9B7D-8C36692CE558}" dt="2023-09-20T12:39:04.026" v="6506"/>
          <ac:spMkLst>
            <pc:docMk/>
            <pc:sldMk cId="3426611490" sldId="2147375349"/>
            <ac:spMk id="574" creationId="{9BFDA3C3-688B-6A99-D6BD-4D5BFC6984B7}"/>
          </ac:spMkLst>
        </pc:spChg>
        <pc:graphicFrameChg chg="mod">
          <ac:chgData name="Jorge Costa" userId="6f0ed375-7d90-4a84-93f2-03ffaae48f30" providerId="ADAL" clId="{03E48706-ED28-4E40-9B7D-8C36692CE558}" dt="2023-09-20T12:39:04.123" v="6732"/>
          <ac:graphicFrameMkLst>
            <pc:docMk/>
            <pc:sldMk cId="3426611490" sldId="2147375349"/>
            <ac:graphicFrameMk id="108" creationId="{82C4F1E6-B5EF-46A2-AE1D-00E8CF662D4B}"/>
          </ac:graphicFrameMkLst>
        </pc:graphicFrameChg>
        <pc:cxnChg chg="add del">
          <ac:chgData name="Jorge Costa" userId="6f0ed375-7d90-4a84-93f2-03ffaae48f30" providerId="ADAL" clId="{03E48706-ED28-4E40-9B7D-8C36692CE558}" dt="2023-09-20T12:39:04.073" v="6597"/>
          <ac:cxnSpMkLst>
            <pc:docMk/>
            <pc:sldMk cId="3426611490" sldId="2147375349"/>
            <ac:cxnSpMk id="15" creationId="{57AF7E6F-68E4-5348-C144-6F8AF1E92A95}"/>
          </ac:cxnSpMkLst>
        </pc:cxnChg>
        <pc:cxnChg chg="add del">
          <ac:chgData name="Jorge Costa" userId="6f0ed375-7d90-4a84-93f2-03ffaae48f30" providerId="ADAL" clId="{03E48706-ED28-4E40-9B7D-8C36692CE558}" dt="2023-09-20T12:39:04.057" v="6590"/>
          <ac:cxnSpMkLst>
            <pc:docMk/>
            <pc:sldMk cId="3426611490" sldId="2147375349"/>
            <ac:cxnSpMk id="16" creationId="{A5671A6B-A49A-C764-4CC9-E7EC0926588F}"/>
          </ac:cxnSpMkLst>
        </pc:cxnChg>
        <pc:cxnChg chg="add del">
          <ac:chgData name="Jorge Costa" userId="6f0ed375-7d90-4a84-93f2-03ffaae48f30" providerId="ADAL" clId="{03E48706-ED28-4E40-9B7D-8C36692CE558}" dt="2023-09-20T12:39:04.057" v="6573"/>
          <ac:cxnSpMkLst>
            <pc:docMk/>
            <pc:sldMk cId="3426611490" sldId="2147375349"/>
            <ac:cxnSpMk id="17" creationId="{D1A1C866-3D50-383F-7A33-F7C16DD2980C}"/>
          </ac:cxnSpMkLst>
        </pc:cxnChg>
        <pc:cxnChg chg="add del">
          <ac:chgData name="Jorge Costa" userId="6f0ed375-7d90-4a84-93f2-03ffaae48f30" providerId="ADAL" clId="{03E48706-ED28-4E40-9B7D-8C36692CE558}" dt="2023-09-20T12:39:04.057" v="6566"/>
          <ac:cxnSpMkLst>
            <pc:docMk/>
            <pc:sldMk cId="3426611490" sldId="2147375349"/>
            <ac:cxnSpMk id="18" creationId="{23306120-3670-7049-D498-8EE418D9D783}"/>
          </ac:cxnSpMkLst>
        </pc:cxnChg>
        <pc:cxnChg chg="add del">
          <ac:chgData name="Jorge Costa" userId="6f0ed375-7d90-4a84-93f2-03ffaae48f30" providerId="ADAL" clId="{03E48706-ED28-4E40-9B7D-8C36692CE558}" dt="2023-09-20T12:39:04.089" v="6660"/>
          <ac:cxnSpMkLst>
            <pc:docMk/>
            <pc:sldMk cId="3426611490" sldId="2147375349"/>
            <ac:cxnSpMk id="21" creationId="{1A5AA50C-7DE2-8EE1-6507-46EC2E779807}"/>
          </ac:cxnSpMkLst>
        </pc:cxnChg>
        <pc:cxnChg chg="add del">
          <ac:chgData name="Jorge Costa" userId="6f0ed375-7d90-4a84-93f2-03ffaae48f30" providerId="ADAL" clId="{03E48706-ED28-4E40-9B7D-8C36692CE558}" dt="2023-09-20T12:39:04.057" v="6576"/>
          <ac:cxnSpMkLst>
            <pc:docMk/>
            <pc:sldMk cId="3426611490" sldId="2147375349"/>
            <ac:cxnSpMk id="24" creationId="{9369EB39-B081-F0CE-8E3B-5174186BFF47}"/>
          </ac:cxnSpMkLst>
        </pc:cxnChg>
        <pc:cxnChg chg="add del">
          <ac:chgData name="Jorge Costa" userId="6f0ed375-7d90-4a84-93f2-03ffaae48f30" providerId="ADAL" clId="{03E48706-ED28-4E40-9B7D-8C36692CE558}" dt="2023-09-20T12:39:04.042" v="6540"/>
          <ac:cxnSpMkLst>
            <pc:docMk/>
            <pc:sldMk cId="3426611490" sldId="2147375349"/>
            <ac:cxnSpMk id="27" creationId="{B06ECC3C-26B7-A17F-FE61-786D800BBF18}"/>
          </ac:cxnSpMkLst>
        </pc:cxnChg>
        <pc:cxnChg chg="add del">
          <ac:chgData name="Jorge Costa" userId="6f0ed375-7d90-4a84-93f2-03ffaae48f30" providerId="ADAL" clId="{03E48706-ED28-4E40-9B7D-8C36692CE558}" dt="2023-09-20T12:39:04.073" v="6604"/>
          <ac:cxnSpMkLst>
            <pc:docMk/>
            <pc:sldMk cId="3426611490" sldId="2147375349"/>
            <ac:cxnSpMk id="28" creationId="{3CFC6C99-4D05-7F9E-B52B-10FE51C78287}"/>
          </ac:cxnSpMkLst>
        </pc:cxnChg>
        <pc:cxnChg chg="add del">
          <ac:chgData name="Jorge Costa" userId="6f0ed375-7d90-4a84-93f2-03ffaae48f30" providerId="ADAL" clId="{03E48706-ED28-4E40-9B7D-8C36692CE558}" dt="2023-09-20T12:39:04.073" v="6600"/>
          <ac:cxnSpMkLst>
            <pc:docMk/>
            <pc:sldMk cId="3426611490" sldId="2147375349"/>
            <ac:cxnSpMk id="30" creationId="{2500EA9F-56C1-FFF3-0641-2EDB8B40790E}"/>
          </ac:cxnSpMkLst>
        </pc:cxnChg>
        <pc:cxnChg chg="add del">
          <ac:chgData name="Jorge Costa" userId="6f0ed375-7d90-4a84-93f2-03ffaae48f30" providerId="ADAL" clId="{03E48706-ED28-4E40-9B7D-8C36692CE558}" dt="2023-09-20T12:39:04.089" v="6672"/>
          <ac:cxnSpMkLst>
            <pc:docMk/>
            <pc:sldMk cId="3426611490" sldId="2147375349"/>
            <ac:cxnSpMk id="32" creationId="{BE1B4D08-7B36-88C7-E352-15FFE9EC4392}"/>
          </ac:cxnSpMkLst>
        </pc:cxnChg>
        <pc:cxnChg chg="add del">
          <ac:chgData name="Jorge Costa" userId="6f0ed375-7d90-4a84-93f2-03ffaae48f30" providerId="ADAL" clId="{03E48706-ED28-4E40-9B7D-8C36692CE558}" dt="2023-09-20T12:39:04.089" v="6666"/>
          <ac:cxnSpMkLst>
            <pc:docMk/>
            <pc:sldMk cId="3426611490" sldId="2147375349"/>
            <ac:cxnSpMk id="34" creationId="{18693835-014E-F09A-9703-C48BC305863D}"/>
          </ac:cxnSpMkLst>
        </pc:cxnChg>
        <pc:cxnChg chg="add del">
          <ac:chgData name="Jorge Costa" userId="6f0ed375-7d90-4a84-93f2-03ffaae48f30" providerId="ADAL" clId="{03E48706-ED28-4E40-9B7D-8C36692CE558}" dt="2023-09-20T12:39:04.089" v="6674"/>
          <ac:cxnSpMkLst>
            <pc:docMk/>
            <pc:sldMk cId="3426611490" sldId="2147375349"/>
            <ac:cxnSpMk id="38" creationId="{89193484-CAFE-595E-B0F5-F9A88D62189D}"/>
          </ac:cxnSpMkLst>
        </pc:cxnChg>
        <pc:cxnChg chg="add del">
          <ac:chgData name="Jorge Costa" userId="6f0ed375-7d90-4a84-93f2-03ffaae48f30" providerId="ADAL" clId="{03E48706-ED28-4E40-9B7D-8C36692CE558}" dt="2023-09-20T12:39:04.057" v="6578"/>
          <ac:cxnSpMkLst>
            <pc:docMk/>
            <pc:sldMk cId="3426611490" sldId="2147375349"/>
            <ac:cxnSpMk id="43" creationId="{27BE15C3-24C6-424F-E9FE-B2C5F42D5840}"/>
          </ac:cxnSpMkLst>
        </pc:cxnChg>
        <pc:cxnChg chg="add del">
          <ac:chgData name="Jorge Costa" userId="6f0ed375-7d90-4a84-93f2-03ffaae48f30" providerId="ADAL" clId="{03E48706-ED28-4E40-9B7D-8C36692CE558}" dt="2023-09-20T12:39:04.073" v="6648"/>
          <ac:cxnSpMkLst>
            <pc:docMk/>
            <pc:sldMk cId="3426611490" sldId="2147375349"/>
            <ac:cxnSpMk id="64" creationId="{6B02F4B8-6595-64C8-5148-1F9A8B1AB7F0}"/>
          </ac:cxnSpMkLst>
        </pc:cxnChg>
        <pc:cxnChg chg="add del">
          <ac:chgData name="Jorge Costa" userId="6f0ed375-7d90-4a84-93f2-03ffaae48f30" providerId="ADAL" clId="{03E48706-ED28-4E40-9B7D-8C36692CE558}" dt="2023-09-20T12:39:04.010" v="6436"/>
          <ac:cxnSpMkLst>
            <pc:docMk/>
            <pc:sldMk cId="3426611490" sldId="2147375349"/>
            <ac:cxnSpMk id="68" creationId="{5DC51944-5F7B-F3E0-B11F-F9A4499E000A}"/>
          </ac:cxnSpMkLst>
        </pc:cxnChg>
        <pc:cxnChg chg="add del">
          <ac:chgData name="Jorge Costa" userId="6f0ed375-7d90-4a84-93f2-03ffaae48f30" providerId="ADAL" clId="{03E48706-ED28-4E40-9B7D-8C36692CE558}" dt="2023-09-20T12:39:04.073" v="6646"/>
          <ac:cxnSpMkLst>
            <pc:docMk/>
            <pc:sldMk cId="3426611490" sldId="2147375349"/>
            <ac:cxnSpMk id="69" creationId="{93AF4C99-45B1-050E-9DDE-21D32780F0FE}"/>
          </ac:cxnSpMkLst>
        </pc:cxnChg>
        <pc:cxnChg chg="add del">
          <ac:chgData name="Jorge Costa" userId="6f0ed375-7d90-4a84-93f2-03ffaae48f30" providerId="ADAL" clId="{03E48706-ED28-4E40-9B7D-8C36692CE558}" dt="2023-09-20T12:39:04.073" v="6644"/>
          <ac:cxnSpMkLst>
            <pc:docMk/>
            <pc:sldMk cId="3426611490" sldId="2147375349"/>
            <ac:cxnSpMk id="72" creationId="{9D50705A-9A0D-C769-86B5-3FA6416E4078}"/>
          </ac:cxnSpMkLst>
        </pc:cxnChg>
        <pc:cxnChg chg="add del">
          <ac:chgData name="Jorge Costa" userId="6f0ed375-7d90-4a84-93f2-03ffaae48f30" providerId="ADAL" clId="{03E48706-ED28-4E40-9B7D-8C36692CE558}" dt="2023-09-20T12:39:04.089" v="6682"/>
          <ac:cxnSpMkLst>
            <pc:docMk/>
            <pc:sldMk cId="3426611490" sldId="2147375349"/>
            <ac:cxnSpMk id="82" creationId="{73AD0FA4-9627-4DA6-8DC5-52880FCBFFD7}"/>
          </ac:cxnSpMkLst>
        </pc:cxnChg>
        <pc:cxnChg chg="add del">
          <ac:chgData name="Jorge Costa" userId="6f0ed375-7d90-4a84-93f2-03ffaae48f30" providerId="ADAL" clId="{03E48706-ED28-4E40-9B7D-8C36692CE558}" dt="2023-09-20T12:39:04.089" v="6684"/>
          <ac:cxnSpMkLst>
            <pc:docMk/>
            <pc:sldMk cId="3426611490" sldId="2147375349"/>
            <ac:cxnSpMk id="87" creationId="{80D378EA-1A81-4375-8518-FCF27AF71BF7}"/>
          </ac:cxnSpMkLst>
        </pc:cxnChg>
        <pc:cxnChg chg="add del">
          <ac:chgData name="Jorge Costa" userId="6f0ed375-7d90-4a84-93f2-03ffaae48f30" providerId="ADAL" clId="{03E48706-ED28-4E40-9B7D-8C36692CE558}" dt="2023-09-20T12:39:04.057" v="6593"/>
          <ac:cxnSpMkLst>
            <pc:docMk/>
            <pc:sldMk cId="3426611490" sldId="2147375349"/>
            <ac:cxnSpMk id="96" creationId="{EEE4BC99-18BB-1F7E-97C8-7AAB434C3D1E}"/>
          </ac:cxnSpMkLst>
        </pc:cxnChg>
        <pc:cxnChg chg="add del">
          <ac:chgData name="Jorge Costa" userId="6f0ed375-7d90-4a84-93f2-03ffaae48f30" providerId="ADAL" clId="{03E48706-ED28-4E40-9B7D-8C36692CE558}" dt="2023-09-20T12:39:04.057" v="6586"/>
          <ac:cxnSpMkLst>
            <pc:docMk/>
            <pc:sldMk cId="3426611490" sldId="2147375349"/>
            <ac:cxnSpMk id="98" creationId="{99CCA6E1-17D2-592F-1B2E-048F06AC118E}"/>
          </ac:cxnSpMkLst>
        </pc:cxnChg>
        <pc:cxnChg chg="add del">
          <ac:chgData name="Jorge Costa" userId="6f0ed375-7d90-4a84-93f2-03ffaae48f30" providerId="ADAL" clId="{03E48706-ED28-4E40-9B7D-8C36692CE558}" dt="2023-09-20T12:39:04.057" v="6581"/>
          <ac:cxnSpMkLst>
            <pc:docMk/>
            <pc:sldMk cId="3426611490" sldId="2147375349"/>
            <ac:cxnSpMk id="100" creationId="{6F90BB1E-D664-CA22-707C-43D9CC5597A4}"/>
          </ac:cxnSpMkLst>
        </pc:cxnChg>
        <pc:cxnChg chg="add del">
          <ac:chgData name="Jorge Costa" userId="6f0ed375-7d90-4a84-93f2-03ffaae48f30" providerId="ADAL" clId="{03E48706-ED28-4E40-9B7D-8C36692CE558}" dt="2023-09-20T12:39:04.089" v="6692"/>
          <ac:cxnSpMkLst>
            <pc:docMk/>
            <pc:sldMk cId="3426611490" sldId="2147375349"/>
            <ac:cxnSpMk id="102" creationId="{3669ACE1-94A4-4C4D-B6B2-27F32A31F428}"/>
          </ac:cxnSpMkLst>
        </pc:cxnChg>
        <pc:cxnChg chg="add del">
          <ac:chgData name="Jorge Costa" userId="6f0ed375-7d90-4a84-93f2-03ffaae48f30" providerId="ADAL" clId="{03E48706-ED28-4E40-9B7D-8C36692CE558}" dt="2023-09-20T12:39:04.089" v="6688"/>
          <ac:cxnSpMkLst>
            <pc:docMk/>
            <pc:sldMk cId="3426611490" sldId="2147375349"/>
            <ac:cxnSpMk id="103" creationId="{CE2BFBAD-EF6B-489A-8650-FA7651FF6341}"/>
          </ac:cxnSpMkLst>
        </pc:cxnChg>
        <pc:cxnChg chg="add del">
          <ac:chgData name="Jorge Costa" userId="6f0ed375-7d90-4a84-93f2-03ffaae48f30" providerId="ADAL" clId="{03E48706-ED28-4E40-9B7D-8C36692CE558}" dt="2023-09-20T12:39:04.026" v="6495"/>
          <ac:cxnSpMkLst>
            <pc:docMk/>
            <pc:sldMk cId="3426611490" sldId="2147375349"/>
            <ac:cxnSpMk id="104" creationId="{BE36779A-92D1-4967-B0DF-E99BEDDE78EF}"/>
          </ac:cxnSpMkLst>
        </pc:cxnChg>
        <pc:cxnChg chg="add del">
          <ac:chgData name="Jorge Costa" userId="6f0ed375-7d90-4a84-93f2-03ffaae48f30" providerId="ADAL" clId="{03E48706-ED28-4E40-9B7D-8C36692CE558}" dt="2023-09-20T12:39:04.073" v="6642"/>
          <ac:cxnSpMkLst>
            <pc:docMk/>
            <pc:sldMk cId="3426611490" sldId="2147375349"/>
            <ac:cxnSpMk id="106" creationId="{02B90001-5114-C022-3F8F-81A04250302E}"/>
          </ac:cxnSpMkLst>
        </pc:cxnChg>
        <pc:cxnChg chg="add del">
          <ac:chgData name="Jorge Costa" userId="6f0ed375-7d90-4a84-93f2-03ffaae48f30" providerId="ADAL" clId="{03E48706-ED28-4E40-9B7D-8C36692CE558}" dt="2023-09-20T12:39:04.042" v="6529"/>
          <ac:cxnSpMkLst>
            <pc:docMk/>
            <pc:sldMk cId="3426611490" sldId="2147375349"/>
            <ac:cxnSpMk id="107" creationId="{E9904665-5328-450C-AA05-3E53F3618E21}"/>
          </ac:cxnSpMkLst>
        </pc:cxnChg>
        <pc:cxnChg chg="add del">
          <ac:chgData name="Jorge Costa" userId="6f0ed375-7d90-4a84-93f2-03ffaae48f30" providerId="ADAL" clId="{03E48706-ED28-4E40-9B7D-8C36692CE558}" dt="2023-09-20T12:39:04.089" v="6686"/>
          <ac:cxnSpMkLst>
            <pc:docMk/>
            <pc:sldMk cId="3426611490" sldId="2147375349"/>
            <ac:cxnSpMk id="109" creationId="{25F0D2F4-47A3-487E-9806-F35F8C104EA3}"/>
          </ac:cxnSpMkLst>
        </pc:cxnChg>
        <pc:cxnChg chg="add del">
          <ac:chgData name="Jorge Costa" userId="6f0ed375-7d90-4a84-93f2-03ffaae48f30" providerId="ADAL" clId="{03E48706-ED28-4E40-9B7D-8C36692CE558}" dt="2023-09-20T12:39:04.057" v="6562"/>
          <ac:cxnSpMkLst>
            <pc:docMk/>
            <pc:sldMk cId="3426611490" sldId="2147375349"/>
            <ac:cxnSpMk id="112" creationId="{5E9AF327-EC1B-858C-15AE-2E7406A8BCD7}"/>
          </ac:cxnSpMkLst>
        </pc:cxnChg>
        <pc:cxnChg chg="add del">
          <ac:chgData name="Jorge Costa" userId="6f0ed375-7d90-4a84-93f2-03ffaae48f30" providerId="ADAL" clId="{03E48706-ED28-4E40-9B7D-8C36692CE558}" dt="2023-09-20T12:39:04.073" v="6640"/>
          <ac:cxnSpMkLst>
            <pc:docMk/>
            <pc:sldMk cId="3426611490" sldId="2147375349"/>
            <ac:cxnSpMk id="113" creationId="{A567F4B2-29C8-643D-041E-373869CF5115}"/>
          </ac:cxnSpMkLst>
        </pc:cxnChg>
        <pc:cxnChg chg="add del">
          <ac:chgData name="Jorge Costa" userId="6f0ed375-7d90-4a84-93f2-03ffaae48f30" providerId="ADAL" clId="{03E48706-ED28-4E40-9B7D-8C36692CE558}" dt="2023-09-20T12:39:04.089" v="6690"/>
          <ac:cxnSpMkLst>
            <pc:docMk/>
            <pc:sldMk cId="3426611490" sldId="2147375349"/>
            <ac:cxnSpMk id="114" creationId="{AB279DAA-B24C-4027-8A2A-D69272B99F74}"/>
          </ac:cxnSpMkLst>
        </pc:cxnChg>
        <pc:cxnChg chg="add del">
          <ac:chgData name="Jorge Costa" userId="6f0ed375-7d90-4a84-93f2-03ffaae48f30" providerId="ADAL" clId="{03E48706-ED28-4E40-9B7D-8C36692CE558}" dt="2023-09-20T12:39:04.089" v="6650"/>
          <ac:cxnSpMkLst>
            <pc:docMk/>
            <pc:sldMk cId="3426611490" sldId="2147375349"/>
            <ac:cxnSpMk id="117" creationId="{4EFEB5C2-BEB1-D2D3-C641-DB20F18FBF5A}"/>
          </ac:cxnSpMkLst>
        </pc:cxnChg>
        <pc:cxnChg chg="add del">
          <ac:chgData name="Jorge Costa" userId="6f0ed375-7d90-4a84-93f2-03ffaae48f30" providerId="ADAL" clId="{03E48706-ED28-4E40-9B7D-8C36692CE558}" dt="2023-09-20T12:39:04.089" v="6652"/>
          <ac:cxnSpMkLst>
            <pc:docMk/>
            <pc:sldMk cId="3426611490" sldId="2147375349"/>
            <ac:cxnSpMk id="126" creationId="{11941E78-40F2-0910-F54A-F375433A75B8}"/>
          </ac:cxnSpMkLst>
        </pc:cxnChg>
        <pc:cxnChg chg="add del">
          <ac:chgData name="Jorge Costa" userId="6f0ed375-7d90-4a84-93f2-03ffaae48f30" providerId="ADAL" clId="{03E48706-ED28-4E40-9B7D-8C36692CE558}" dt="2023-09-20T12:39:04.089" v="6668"/>
          <ac:cxnSpMkLst>
            <pc:docMk/>
            <pc:sldMk cId="3426611490" sldId="2147375349"/>
            <ac:cxnSpMk id="127" creationId="{16751D94-4B12-67FA-1196-0268F888131B}"/>
          </ac:cxnSpMkLst>
        </pc:cxnChg>
        <pc:cxnChg chg="add del">
          <ac:chgData name="Jorge Costa" userId="6f0ed375-7d90-4a84-93f2-03ffaae48f30" providerId="ADAL" clId="{03E48706-ED28-4E40-9B7D-8C36692CE558}" dt="2023-09-20T12:39:04.057" v="6569"/>
          <ac:cxnSpMkLst>
            <pc:docMk/>
            <pc:sldMk cId="3426611490" sldId="2147375349"/>
            <ac:cxnSpMk id="513" creationId="{0CEE8A4B-C872-438B-FB59-C973EA68AE8A}"/>
          </ac:cxnSpMkLst>
        </pc:cxnChg>
        <pc:cxnChg chg="add del">
          <ac:chgData name="Jorge Costa" userId="6f0ed375-7d90-4a84-93f2-03ffaae48f30" providerId="ADAL" clId="{03E48706-ED28-4E40-9B7D-8C36692CE558}" dt="2023-09-20T12:39:04.089" v="6680"/>
          <ac:cxnSpMkLst>
            <pc:docMk/>
            <pc:sldMk cId="3426611490" sldId="2147375349"/>
            <ac:cxnSpMk id="540" creationId="{0CF27F6F-FB82-3FEE-06F8-7D521DDEF718}"/>
          </ac:cxnSpMkLst>
        </pc:cxnChg>
        <pc:cxnChg chg="add del">
          <ac:chgData name="Jorge Costa" userId="6f0ed375-7d90-4a84-93f2-03ffaae48f30" providerId="ADAL" clId="{03E48706-ED28-4E40-9B7D-8C36692CE558}" dt="2023-09-20T12:39:04.089" v="6678"/>
          <ac:cxnSpMkLst>
            <pc:docMk/>
            <pc:sldMk cId="3426611490" sldId="2147375349"/>
            <ac:cxnSpMk id="543" creationId="{3EFD8024-0822-C820-B9E7-1E38A1797F1C}"/>
          </ac:cxnSpMkLst>
        </pc:cxnChg>
        <pc:cxnChg chg="add del">
          <ac:chgData name="Jorge Costa" userId="6f0ed375-7d90-4a84-93f2-03ffaae48f30" providerId="ADAL" clId="{03E48706-ED28-4E40-9B7D-8C36692CE558}" dt="2023-09-20T12:39:04.089" v="6676"/>
          <ac:cxnSpMkLst>
            <pc:docMk/>
            <pc:sldMk cId="3426611490" sldId="2147375349"/>
            <ac:cxnSpMk id="544" creationId="{69473D39-1374-F9F3-80FD-943976A803CA}"/>
          </ac:cxnSpMkLst>
        </pc:cxnChg>
        <pc:cxnChg chg="add del">
          <ac:chgData name="Jorge Costa" userId="6f0ed375-7d90-4a84-93f2-03ffaae48f30" providerId="ADAL" clId="{03E48706-ED28-4E40-9B7D-8C36692CE558}" dt="2023-09-20T12:39:04.089" v="6670"/>
          <ac:cxnSpMkLst>
            <pc:docMk/>
            <pc:sldMk cId="3426611490" sldId="2147375349"/>
            <ac:cxnSpMk id="551" creationId="{ACF64C84-80C4-5223-8B0F-E2C6E3FDCDAC}"/>
          </ac:cxnSpMkLst>
        </pc:cxnChg>
        <pc:cxnChg chg="add del">
          <ac:chgData name="Jorge Costa" userId="6f0ed375-7d90-4a84-93f2-03ffaae48f30" providerId="ADAL" clId="{03E48706-ED28-4E40-9B7D-8C36692CE558}" dt="2023-09-20T12:39:04.089" v="6664"/>
          <ac:cxnSpMkLst>
            <pc:docMk/>
            <pc:sldMk cId="3426611490" sldId="2147375349"/>
            <ac:cxnSpMk id="553" creationId="{20F363E9-C258-2860-34C4-3171B4DA8CEE}"/>
          </ac:cxnSpMkLst>
        </pc:cxnChg>
        <pc:cxnChg chg="add del">
          <ac:chgData name="Jorge Costa" userId="6f0ed375-7d90-4a84-93f2-03ffaae48f30" providerId="ADAL" clId="{03E48706-ED28-4E40-9B7D-8C36692CE558}" dt="2023-09-20T12:39:04.089" v="6662"/>
          <ac:cxnSpMkLst>
            <pc:docMk/>
            <pc:sldMk cId="3426611490" sldId="2147375349"/>
            <ac:cxnSpMk id="554" creationId="{AAF50DD9-4EB9-A963-5BE2-5C54C2DBA369}"/>
          </ac:cxnSpMkLst>
        </pc:cxnChg>
        <pc:cxnChg chg="add del">
          <ac:chgData name="Jorge Costa" userId="6f0ed375-7d90-4a84-93f2-03ffaae48f30" providerId="ADAL" clId="{03E48706-ED28-4E40-9B7D-8C36692CE558}" dt="2023-09-20T12:39:04.089" v="6658"/>
          <ac:cxnSpMkLst>
            <pc:docMk/>
            <pc:sldMk cId="3426611490" sldId="2147375349"/>
            <ac:cxnSpMk id="556" creationId="{FA1B2F5E-D45E-B7FC-7E7A-FCB2014819F5}"/>
          </ac:cxnSpMkLst>
        </pc:cxnChg>
        <pc:cxnChg chg="add del">
          <ac:chgData name="Jorge Costa" userId="6f0ed375-7d90-4a84-93f2-03ffaae48f30" providerId="ADAL" clId="{03E48706-ED28-4E40-9B7D-8C36692CE558}" dt="2023-09-20T12:39:04.089" v="6656"/>
          <ac:cxnSpMkLst>
            <pc:docMk/>
            <pc:sldMk cId="3426611490" sldId="2147375349"/>
            <ac:cxnSpMk id="557" creationId="{2C251A15-F283-16CE-2357-4240741CAC44}"/>
          </ac:cxnSpMkLst>
        </pc:cxnChg>
        <pc:cxnChg chg="add del">
          <ac:chgData name="Jorge Costa" userId="6f0ed375-7d90-4a84-93f2-03ffaae48f30" providerId="ADAL" clId="{03E48706-ED28-4E40-9B7D-8C36692CE558}" dt="2023-09-20T12:39:04.089" v="6654"/>
          <ac:cxnSpMkLst>
            <pc:docMk/>
            <pc:sldMk cId="3426611490" sldId="2147375349"/>
            <ac:cxnSpMk id="558" creationId="{D3A87E62-006A-740F-C73F-6B9341625844}"/>
          </ac:cxnSpMkLst>
        </pc:cxnChg>
      </pc:sldChg>
      <pc:sldChg chg="modSp mod">
        <pc:chgData name="Jorge Costa" userId="6f0ed375-7d90-4a84-93f2-03ffaae48f30" providerId="ADAL" clId="{03E48706-ED28-4E40-9B7D-8C36692CE558}" dt="2023-09-20T14:39:03.061" v="75226" actId="6549"/>
        <pc:sldMkLst>
          <pc:docMk/>
          <pc:sldMk cId="4160796942" sldId="2147375738"/>
        </pc:sldMkLst>
        <pc:spChg chg="mod">
          <ac:chgData name="Jorge Costa" userId="6f0ed375-7d90-4a84-93f2-03ffaae48f30" providerId="ADAL" clId="{03E48706-ED28-4E40-9B7D-8C36692CE558}" dt="2023-09-20T14:39:03.061" v="75226" actId="6549"/>
          <ac:spMkLst>
            <pc:docMk/>
            <pc:sldMk cId="4160796942" sldId="2147375738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34.105" v="3954"/>
          <ac:spMkLst>
            <pc:docMk/>
            <pc:sldMk cId="4160796942" sldId="2147375738"/>
            <ac:spMk id="17" creationId="{EC20F76B-4421-69CF-B455-88358336714B}"/>
          </ac:spMkLst>
        </pc:spChg>
      </pc:sldChg>
      <pc:sldChg chg="delSp modSp mod modTransition modShow">
        <pc:chgData name="Jorge Costa" userId="6f0ed375-7d90-4a84-93f2-03ffaae48f30" providerId="ADAL" clId="{03E48706-ED28-4E40-9B7D-8C36692CE558}" dt="2023-09-20T14:46:07.065" v="79144" actId="20577"/>
        <pc:sldMkLst>
          <pc:docMk/>
          <pc:sldMk cId="2079069808" sldId="2147375751"/>
        </pc:sldMkLst>
        <pc:spChg chg="del mod">
          <ac:chgData name="Jorge Costa" userId="6f0ed375-7d90-4a84-93f2-03ffaae48f30" providerId="ADAL" clId="{03E48706-ED28-4E40-9B7D-8C36692CE558}" dt="2023-09-20T12:15:12.070" v="4760" actId="478"/>
          <ac:spMkLst>
            <pc:docMk/>
            <pc:sldMk cId="2079069808" sldId="2147375751"/>
            <ac:spMk id="8" creationId="{8B9D26B0-815F-1161-8F98-0F60F2A0CB24}"/>
          </ac:spMkLst>
        </pc:spChg>
        <pc:spChg chg="mod">
          <ac:chgData name="Jorge Costa" userId="6f0ed375-7d90-4a84-93f2-03ffaae48f30" providerId="ADAL" clId="{03E48706-ED28-4E40-9B7D-8C36692CE558}" dt="2023-09-20T14:46:07.065" v="79144" actId="20577"/>
          <ac:spMkLst>
            <pc:docMk/>
            <pc:sldMk cId="2079069808" sldId="2147375751"/>
            <ac:spMk id="10" creationId="{71836ADA-DD66-7722-8C97-5248A3C64662}"/>
          </ac:spMkLst>
        </pc:spChg>
        <pc:picChg chg="del">
          <ac:chgData name="Jorge Costa" userId="6f0ed375-7d90-4a84-93f2-03ffaae48f30" providerId="ADAL" clId="{03E48706-ED28-4E40-9B7D-8C36692CE558}" dt="2023-09-20T12:15:10.716" v="4759" actId="478"/>
          <ac:picMkLst>
            <pc:docMk/>
            <pc:sldMk cId="2079069808" sldId="2147375751"/>
            <ac:picMk id="11" creationId="{9BD1F79A-D9EE-9BF7-8E52-E246B7610422}"/>
          </ac:picMkLst>
        </pc:picChg>
      </pc:sldChg>
      <pc:sldChg chg="del">
        <pc:chgData name="Jorge Costa" userId="6f0ed375-7d90-4a84-93f2-03ffaae48f30" providerId="ADAL" clId="{03E48706-ED28-4E40-9B7D-8C36692CE558}" dt="2023-09-20T10:38:16.750" v="2042" actId="47"/>
        <pc:sldMkLst>
          <pc:docMk/>
          <pc:sldMk cId="2101536461" sldId="2147375757"/>
        </pc:sldMkLst>
      </pc:sldChg>
      <pc:sldChg chg="addSp delSp modSp mod">
        <pc:chgData name="Jorge Costa" userId="6f0ed375-7d90-4a84-93f2-03ffaae48f30" providerId="ADAL" clId="{03E48706-ED28-4E40-9B7D-8C36692CE558}" dt="2023-09-20T14:07:35.876" v="72687" actId="20577"/>
        <pc:sldMkLst>
          <pc:docMk/>
          <pc:sldMk cId="2522140520" sldId="2147375758"/>
        </pc:sldMkLst>
        <pc:spChg chg="add del">
          <ac:chgData name="Jorge Costa" userId="6f0ed375-7d90-4a84-93f2-03ffaae48f30" providerId="ADAL" clId="{03E48706-ED28-4E40-9B7D-8C36692CE558}" dt="2023-09-20T10:40:30.070" v="2063" actId="478"/>
          <ac:spMkLst>
            <pc:docMk/>
            <pc:sldMk cId="2522140520" sldId="2147375758"/>
            <ac:spMk id="7" creationId="{07633EA2-CEB3-AAB2-FB4A-CD35D00006EA}"/>
          </ac:spMkLst>
        </pc:spChg>
        <pc:spChg chg="mod">
          <ac:chgData name="Jorge Costa" userId="6f0ed375-7d90-4a84-93f2-03ffaae48f30" providerId="ADAL" clId="{03E48706-ED28-4E40-9B7D-8C36692CE558}" dt="2023-09-20T10:38:47.980" v="2047" actId="20577"/>
          <ac:spMkLst>
            <pc:docMk/>
            <pc:sldMk cId="2522140520" sldId="2147375758"/>
            <ac:spMk id="27" creationId="{5F300074-D169-8C68-93E9-2811ED41D81A}"/>
          </ac:spMkLst>
        </pc:spChg>
        <pc:spChg chg="mod">
          <ac:chgData name="Jorge Costa" userId="6f0ed375-7d90-4a84-93f2-03ffaae48f30" providerId="ADAL" clId="{03E48706-ED28-4E40-9B7D-8C36692CE558}" dt="2023-09-20T10:44:20.061" v="2211" actId="6549"/>
          <ac:spMkLst>
            <pc:docMk/>
            <pc:sldMk cId="2522140520" sldId="2147375758"/>
            <ac:spMk id="32" creationId="{093F127A-17CA-1319-11A9-DBB923E48855}"/>
          </ac:spMkLst>
        </pc:spChg>
        <pc:spChg chg="mod">
          <ac:chgData name="Jorge Costa" userId="6f0ed375-7d90-4a84-93f2-03ffaae48f30" providerId="ADAL" clId="{03E48706-ED28-4E40-9B7D-8C36692CE558}" dt="2023-09-20T10:44:08.835" v="2191"/>
          <ac:spMkLst>
            <pc:docMk/>
            <pc:sldMk cId="2522140520" sldId="2147375758"/>
            <ac:spMk id="33" creationId="{6336B1C3-3269-61E7-728E-DC675CF06665}"/>
          </ac:spMkLst>
        </pc:spChg>
        <pc:spChg chg="mod">
          <ac:chgData name="Jorge Costa" userId="6f0ed375-7d90-4a84-93f2-03ffaae48f30" providerId="ADAL" clId="{03E48706-ED28-4E40-9B7D-8C36692CE558}" dt="2023-09-20T12:30:33.733" v="5725" actId="20577"/>
          <ac:spMkLst>
            <pc:docMk/>
            <pc:sldMk cId="2522140520" sldId="2147375758"/>
            <ac:spMk id="34" creationId="{4BFBFCA4-2791-6518-ABD8-F5849632E50C}"/>
          </ac:spMkLst>
        </pc:spChg>
        <pc:spChg chg="mod">
          <ac:chgData name="Jorge Costa" userId="6f0ed375-7d90-4a84-93f2-03ffaae48f30" providerId="ADAL" clId="{03E48706-ED28-4E40-9B7D-8C36692CE558}" dt="2023-09-20T13:37:33.816" v="63369" actId="20577"/>
          <ac:spMkLst>
            <pc:docMk/>
            <pc:sldMk cId="2522140520" sldId="2147375758"/>
            <ac:spMk id="36" creationId="{D542ED15-4EFE-9108-F75F-95E8A3B63A7F}"/>
          </ac:spMkLst>
        </pc:spChg>
        <pc:spChg chg="mod">
          <ac:chgData name="Jorge Costa" userId="6f0ed375-7d90-4a84-93f2-03ffaae48f30" providerId="ADAL" clId="{03E48706-ED28-4E40-9B7D-8C36692CE558}" dt="2023-09-20T10:51:43.562" v="2362" actId="20577"/>
          <ac:spMkLst>
            <pc:docMk/>
            <pc:sldMk cId="2522140520" sldId="2147375758"/>
            <ac:spMk id="39" creationId="{D1BA8166-4BCC-8027-FBD4-0A8DACDAF55B}"/>
          </ac:spMkLst>
        </pc:spChg>
        <pc:spChg chg="add del mod">
          <ac:chgData name="Jorge Costa" userId="6f0ed375-7d90-4a84-93f2-03ffaae48f30" providerId="ADAL" clId="{03E48706-ED28-4E40-9B7D-8C36692CE558}" dt="2023-09-20T13:37:52.178" v="63387" actId="20577"/>
          <ac:spMkLst>
            <pc:docMk/>
            <pc:sldMk cId="2522140520" sldId="2147375758"/>
            <ac:spMk id="40" creationId="{807E2D87-83BB-3377-B309-8D6122458432}"/>
          </ac:spMkLst>
        </pc:spChg>
        <pc:spChg chg="mod">
          <ac:chgData name="Jorge Costa" userId="6f0ed375-7d90-4a84-93f2-03ffaae48f30" providerId="ADAL" clId="{03E48706-ED28-4E40-9B7D-8C36692CE558}" dt="2023-09-20T13:38:48.990" v="63389" actId="6549"/>
          <ac:spMkLst>
            <pc:docMk/>
            <pc:sldMk cId="2522140520" sldId="2147375758"/>
            <ac:spMk id="41" creationId="{45C6482E-22D5-46CB-1352-03DB2FBE10B3}"/>
          </ac:spMkLst>
        </pc:spChg>
        <pc:spChg chg="mod">
          <ac:chgData name="Jorge Costa" userId="6f0ed375-7d90-4a84-93f2-03ffaae48f30" providerId="ADAL" clId="{03E48706-ED28-4E40-9B7D-8C36692CE558}" dt="2023-09-20T10:57:24.246" v="2492" actId="5793"/>
          <ac:spMkLst>
            <pc:docMk/>
            <pc:sldMk cId="2522140520" sldId="2147375758"/>
            <ac:spMk id="43" creationId="{7198D77E-1D65-5572-E36A-7E87A09752E6}"/>
          </ac:spMkLst>
        </pc:spChg>
        <pc:spChg chg="mod">
          <ac:chgData name="Jorge Costa" userId="6f0ed375-7d90-4a84-93f2-03ffaae48f30" providerId="ADAL" clId="{03E48706-ED28-4E40-9B7D-8C36692CE558}" dt="2023-09-20T14:07:35.876" v="72687" actId="20577"/>
          <ac:spMkLst>
            <pc:docMk/>
            <pc:sldMk cId="2522140520" sldId="2147375758"/>
            <ac:spMk id="52" creationId="{5752918C-E0DC-3853-537D-10D995703A3E}"/>
          </ac:spMkLst>
        </pc:spChg>
        <pc:grpChg chg="add del">
          <ac:chgData name="Jorge Costa" userId="6f0ed375-7d90-4a84-93f2-03ffaae48f30" providerId="ADAL" clId="{03E48706-ED28-4E40-9B7D-8C36692CE558}" dt="2023-09-20T10:40:05.967" v="2060" actId="478"/>
          <ac:grpSpMkLst>
            <pc:docMk/>
            <pc:sldMk cId="2522140520" sldId="2147375758"/>
            <ac:grpSpMk id="62" creationId="{543E173A-EB07-904F-D429-EEDEA5ABF8FD}"/>
          </ac:grpSpMkLst>
        </pc:grpChg>
        <pc:grpChg chg="mod">
          <ac:chgData name="Jorge Costa" userId="6f0ed375-7d90-4a84-93f2-03ffaae48f30" providerId="ADAL" clId="{03E48706-ED28-4E40-9B7D-8C36692CE558}" dt="2023-09-20T10:42:01.213" v="2127" actId="14100"/>
          <ac:grpSpMkLst>
            <pc:docMk/>
            <pc:sldMk cId="2522140520" sldId="2147375758"/>
            <ac:grpSpMk id="63" creationId="{AC853A41-D995-75E7-5664-73604CB7E8B3}"/>
          </ac:grpSpMkLst>
        </pc:grpChg>
      </pc:sldChg>
      <pc:sldChg chg="addSp delSp modSp mod">
        <pc:chgData name="Jorge Costa" userId="6f0ed375-7d90-4a84-93f2-03ffaae48f30" providerId="ADAL" clId="{03E48706-ED28-4E40-9B7D-8C36692CE558}" dt="2023-09-20T14:05:34.381" v="72669"/>
        <pc:sldMkLst>
          <pc:docMk/>
          <pc:sldMk cId="1957411113" sldId="2147375759"/>
        </pc:sldMkLst>
        <pc:spChg chg="mod">
          <ac:chgData name="Jorge Costa" userId="6f0ed375-7d90-4a84-93f2-03ffaae48f30" providerId="ADAL" clId="{03E48706-ED28-4E40-9B7D-8C36692CE558}" dt="2023-09-20T14:05:34.343" v="72626" actId="948"/>
          <ac:spMkLst>
            <pc:docMk/>
            <pc:sldMk cId="1957411113" sldId="2147375759"/>
            <ac:spMk id="2" creationId="{D2B45532-4806-5CD7-BCDF-33EE7544CA7E}"/>
          </ac:spMkLst>
        </pc:spChg>
        <pc:spChg chg="add del mod modVis">
          <ac:chgData name="Jorge Costa" userId="6f0ed375-7d90-4a84-93f2-03ffaae48f30" providerId="ADAL" clId="{03E48706-ED28-4E40-9B7D-8C36692CE558}" dt="2023-09-20T14:05:34.377" v="72667"/>
          <ac:spMkLst>
            <pc:docMk/>
            <pc:sldMk cId="1957411113" sldId="2147375759"/>
            <ac:spMk id="3" creationId="{198B7C9C-4C51-6E3C-7089-DB59A6E4DF55}"/>
          </ac:spMkLst>
        </pc:spChg>
        <pc:spChg chg="mod">
          <ac:chgData name="Jorge Costa" userId="6f0ed375-7d90-4a84-93f2-03ffaae48f30" providerId="ADAL" clId="{03E48706-ED28-4E40-9B7D-8C36692CE558}" dt="2023-09-20T11:03:31.940" v="3296" actId="20577"/>
          <ac:spMkLst>
            <pc:docMk/>
            <pc:sldMk cId="1957411113" sldId="2147375759"/>
            <ac:spMk id="61" creationId="{79D3C1E5-FC5A-E6A2-F7F6-9155B34A06B0}"/>
          </ac:spMkLst>
        </pc:spChg>
        <pc:graphicFrameChg chg="mod">
          <ac:chgData name="Jorge Costa" userId="6f0ed375-7d90-4a84-93f2-03ffaae48f30" providerId="ADAL" clId="{03E48706-ED28-4E40-9B7D-8C36692CE558}" dt="2023-09-20T14:05:34.381" v="72669"/>
          <ac:graphicFrameMkLst>
            <pc:docMk/>
            <pc:sldMk cId="1957411113" sldId="2147375759"/>
            <ac:graphicFrameMk id="29" creationId="{E4ADC6FB-C398-8B76-3455-2197FFCD0F2B}"/>
          </ac:graphicFrameMkLst>
        </pc:graphicFrameChg>
      </pc:sldChg>
      <pc:sldChg chg="addSp delSp modSp mod">
        <pc:chgData name="Jorge Costa" userId="6f0ed375-7d90-4a84-93f2-03ffaae48f30" providerId="ADAL" clId="{03E48706-ED28-4E40-9B7D-8C36692CE558}" dt="2023-09-28T11:36:37.473" v="99972" actId="1076"/>
        <pc:sldMkLst>
          <pc:docMk/>
          <pc:sldMk cId="3668715625" sldId="2147375760"/>
        </pc:sldMkLst>
        <pc:spChg chg="mod">
          <ac:chgData name="Jorge Costa" userId="6f0ed375-7d90-4a84-93f2-03ffaae48f30" providerId="ADAL" clId="{03E48706-ED28-4E40-9B7D-8C36692CE558}" dt="2023-09-20T11:03:26.845" v="3249" actId="948"/>
          <ac:spMkLst>
            <pc:docMk/>
            <pc:sldMk cId="3668715625" sldId="2147375760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1:03:02.147" v="2748"/>
          <ac:spMkLst>
            <pc:docMk/>
            <pc:sldMk cId="3668715625" sldId="2147375760"/>
            <ac:spMk id="3" creationId="{701E9B05-E721-7FB0-7637-FD7BB5E68246}"/>
          </ac:spMkLst>
        </pc:spChg>
        <pc:spChg chg="mod">
          <ac:chgData name="Jorge Costa" userId="6f0ed375-7d90-4a84-93f2-03ffaae48f30" providerId="ADAL" clId="{03E48706-ED28-4E40-9B7D-8C36692CE558}" dt="2023-09-28T11:35:26.132" v="99910" actId="20577"/>
          <ac:spMkLst>
            <pc:docMk/>
            <pc:sldMk cId="3668715625" sldId="2147375760"/>
            <ac:spMk id="6" creationId="{842B39BD-4B47-F80C-A3A6-B6F892AF4547}"/>
          </ac:spMkLst>
        </pc:spChg>
        <pc:spChg chg="del">
          <ac:chgData name="Jorge Costa" userId="6f0ed375-7d90-4a84-93f2-03ffaae48f30" providerId="ADAL" clId="{03E48706-ED28-4E40-9B7D-8C36692CE558}" dt="2023-09-28T11:35:41.833" v="99936" actId="478"/>
          <ac:spMkLst>
            <pc:docMk/>
            <pc:sldMk cId="3668715625" sldId="2147375760"/>
            <ac:spMk id="8" creationId="{14A81B4E-912A-7EC0-757F-A23AF2A973F3}"/>
          </ac:spMkLst>
        </pc:spChg>
        <pc:spChg chg="del">
          <ac:chgData name="Jorge Costa" userId="6f0ed375-7d90-4a84-93f2-03ffaae48f30" providerId="ADAL" clId="{03E48706-ED28-4E40-9B7D-8C36692CE558}" dt="2023-09-20T12:31:14.858" v="5729" actId="478"/>
          <ac:spMkLst>
            <pc:docMk/>
            <pc:sldMk cId="3668715625" sldId="2147375760"/>
            <ac:spMk id="9" creationId="{30665979-0A4D-D6A4-88A7-98D7ADE49A68}"/>
          </ac:spMkLst>
        </pc:spChg>
        <pc:spChg chg="del">
          <ac:chgData name="Jorge Costa" userId="6f0ed375-7d90-4a84-93f2-03ffaae48f30" providerId="ADAL" clId="{03E48706-ED28-4E40-9B7D-8C36692CE558}" dt="2023-09-20T12:31:27.025" v="5740" actId="478"/>
          <ac:spMkLst>
            <pc:docMk/>
            <pc:sldMk cId="3668715625" sldId="2147375760"/>
            <ac:spMk id="10" creationId="{328EEE1A-D419-71D8-04BA-B31850C5F7CF}"/>
          </ac:spMkLst>
        </pc:spChg>
        <pc:spChg chg="del mod">
          <ac:chgData name="Jorge Costa" userId="6f0ed375-7d90-4a84-93f2-03ffaae48f30" providerId="ADAL" clId="{03E48706-ED28-4E40-9B7D-8C36692CE558}" dt="2023-09-28T11:35:45.138" v="99938" actId="478"/>
          <ac:spMkLst>
            <pc:docMk/>
            <pc:sldMk cId="3668715625" sldId="2147375760"/>
            <ac:spMk id="15" creationId="{3A26E4A3-D678-10E2-82E8-7AEC8D984566}"/>
          </ac:spMkLst>
        </pc:spChg>
        <pc:spChg chg="del">
          <ac:chgData name="Jorge Costa" userId="6f0ed375-7d90-4a84-93f2-03ffaae48f30" providerId="ADAL" clId="{03E48706-ED28-4E40-9B7D-8C36692CE558}" dt="2023-09-20T12:31:16.429" v="5730" actId="478"/>
          <ac:spMkLst>
            <pc:docMk/>
            <pc:sldMk cId="3668715625" sldId="2147375760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09-28T11:35:33.332" v="99932" actId="6549"/>
          <ac:spMkLst>
            <pc:docMk/>
            <pc:sldMk cId="3668715625" sldId="2147375760"/>
            <ac:spMk id="17" creationId="{E5294197-8CE1-1A49-295A-F701A4DA949F}"/>
          </ac:spMkLst>
        </pc:spChg>
        <pc:spChg chg="del">
          <ac:chgData name="Jorge Costa" userId="6f0ed375-7d90-4a84-93f2-03ffaae48f30" providerId="ADAL" clId="{03E48706-ED28-4E40-9B7D-8C36692CE558}" dt="2023-09-20T12:31:19.330" v="5733" actId="478"/>
          <ac:spMkLst>
            <pc:docMk/>
            <pc:sldMk cId="3668715625" sldId="2147375760"/>
            <ac:spMk id="19" creationId="{C6BE6EA7-4590-A29D-C922-391FDE5F4E4D}"/>
          </ac:spMkLst>
        </pc:spChg>
        <pc:spChg chg="del">
          <ac:chgData name="Jorge Costa" userId="6f0ed375-7d90-4a84-93f2-03ffaae48f30" providerId="ADAL" clId="{03E48706-ED28-4E40-9B7D-8C36692CE558}" dt="2023-09-28T11:35:36.593" v="99933" actId="478"/>
          <ac:spMkLst>
            <pc:docMk/>
            <pc:sldMk cId="3668715625" sldId="2147375760"/>
            <ac:spMk id="20" creationId="{17FEA468-8A3F-BD18-DB27-9387852F9889}"/>
          </ac:spMkLst>
        </pc:spChg>
        <pc:spChg chg="del">
          <ac:chgData name="Jorge Costa" userId="6f0ed375-7d90-4a84-93f2-03ffaae48f30" providerId="ADAL" clId="{03E48706-ED28-4E40-9B7D-8C36692CE558}" dt="2023-09-20T12:31:22.616" v="5735" actId="478"/>
          <ac:spMkLst>
            <pc:docMk/>
            <pc:sldMk cId="3668715625" sldId="2147375760"/>
            <ac:spMk id="22" creationId="{53F83A4F-659B-C5E0-4FED-AB98D5EE0072}"/>
          </ac:spMkLst>
        </pc:spChg>
        <pc:spChg chg="del mod">
          <ac:chgData name="Jorge Costa" userId="6f0ed375-7d90-4a84-93f2-03ffaae48f30" providerId="ADAL" clId="{03E48706-ED28-4E40-9B7D-8C36692CE558}" dt="2023-09-28T11:35:43.679" v="99937" actId="478"/>
          <ac:spMkLst>
            <pc:docMk/>
            <pc:sldMk cId="3668715625" sldId="2147375760"/>
            <ac:spMk id="23" creationId="{83D9380C-DE2A-8232-139B-E69578E5A070}"/>
          </ac:spMkLst>
        </pc:spChg>
        <pc:spChg chg="del">
          <ac:chgData name="Jorge Costa" userId="6f0ed375-7d90-4a84-93f2-03ffaae48f30" providerId="ADAL" clId="{03E48706-ED28-4E40-9B7D-8C36692CE558}" dt="2023-09-20T12:31:13.621" v="5728" actId="478"/>
          <ac:spMkLst>
            <pc:docMk/>
            <pc:sldMk cId="3668715625" sldId="2147375760"/>
            <ac:spMk id="24" creationId="{77638136-DD06-7EEC-287A-4A4E18D28245}"/>
          </ac:spMkLst>
        </pc:spChg>
        <pc:spChg chg="del mod">
          <ac:chgData name="Jorge Costa" userId="6f0ed375-7d90-4a84-93f2-03ffaae48f30" providerId="ADAL" clId="{03E48706-ED28-4E40-9B7D-8C36692CE558}" dt="2023-09-20T12:31:26.107" v="5739" actId="478"/>
          <ac:spMkLst>
            <pc:docMk/>
            <pc:sldMk cId="3668715625" sldId="2147375760"/>
            <ac:spMk id="25" creationId="{111E4B0C-3ED8-AD45-E44C-E26FB945F64F}"/>
          </ac:spMkLst>
        </pc:spChg>
        <pc:spChg chg="add del mod modVis">
          <ac:chgData name="Jorge Costa" userId="6f0ed375-7d90-4a84-93f2-03ffaae48f30" providerId="ADAL" clId="{03E48706-ED28-4E40-9B7D-8C36692CE558}" dt="2023-09-20T11:03:03.171" v="2796"/>
          <ac:spMkLst>
            <pc:docMk/>
            <pc:sldMk cId="3668715625" sldId="2147375760"/>
            <ac:spMk id="26" creationId="{A8D2C558-5552-93A7-AB66-B654B860CB48}"/>
          </ac:spMkLst>
        </pc:spChg>
        <pc:spChg chg="add del mod modVis">
          <ac:chgData name="Jorge Costa" userId="6f0ed375-7d90-4a84-93f2-03ffaae48f30" providerId="ADAL" clId="{03E48706-ED28-4E40-9B7D-8C36692CE558}" dt="2023-09-20T11:03:20.735" v="3048"/>
          <ac:spMkLst>
            <pc:docMk/>
            <pc:sldMk cId="3668715625" sldId="2147375760"/>
            <ac:spMk id="27" creationId="{B07DE8E1-AB49-36DD-06AD-288B2FF0E338}"/>
          </ac:spMkLst>
        </pc:spChg>
        <pc:spChg chg="add del mod modVis">
          <ac:chgData name="Jorge Costa" userId="6f0ed375-7d90-4a84-93f2-03ffaae48f30" providerId="ADAL" clId="{03E48706-ED28-4E40-9B7D-8C36692CE558}" dt="2023-09-20T11:03:21.357" v="3093"/>
          <ac:spMkLst>
            <pc:docMk/>
            <pc:sldMk cId="3668715625" sldId="2147375760"/>
            <ac:spMk id="28" creationId="{9C935451-D04F-80ED-C29F-7EFCEBE78B63}"/>
          </ac:spMkLst>
        </pc:spChg>
        <pc:spChg chg="add del mod modVis">
          <ac:chgData name="Jorge Costa" userId="6f0ed375-7d90-4a84-93f2-03ffaae48f30" providerId="ADAL" clId="{03E48706-ED28-4E40-9B7D-8C36692CE558}" dt="2023-09-20T11:03:22.299" v="3139"/>
          <ac:spMkLst>
            <pc:docMk/>
            <pc:sldMk cId="3668715625" sldId="2147375760"/>
            <ac:spMk id="29" creationId="{0F6E3086-7DA0-37EA-37D0-4B5D9F03E44A}"/>
          </ac:spMkLst>
        </pc:spChg>
        <pc:spChg chg="add del mod modVis">
          <ac:chgData name="Jorge Costa" userId="6f0ed375-7d90-4a84-93f2-03ffaae48f30" providerId="ADAL" clId="{03E48706-ED28-4E40-9B7D-8C36692CE558}" dt="2023-09-20T11:03:23.275" v="3187"/>
          <ac:spMkLst>
            <pc:docMk/>
            <pc:sldMk cId="3668715625" sldId="2147375760"/>
            <ac:spMk id="30" creationId="{68480734-3A44-DAC7-09D8-3EFDF97A1906}"/>
          </ac:spMkLst>
        </pc:spChg>
        <pc:spChg chg="add del mod modVis">
          <ac:chgData name="Jorge Costa" userId="6f0ed375-7d90-4a84-93f2-03ffaae48f30" providerId="ADAL" clId="{03E48706-ED28-4E40-9B7D-8C36692CE558}" dt="2023-09-20T11:03:25.870" v="3244"/>
          <ac:spMkLst>
            <pc:docMk/>
            <pc:sldMk cId="3668715625" sldId="2147375760"/>
            <ac:spMk id="32" creationId="{A3705A05-44EE-1B1F-3296-A7E38ABE595B}"/>
          </ac:spMkLst>
        </pc:spChg>
        <pc:spChg chg="add del mod modVis">
          <ac:chgData name="Jorge Costa" userId="6f0ed375-7d90-4a84-93f2-03ffaae48f30" providerId="ADAL" clId="{03E48706-ED28-4E40-9B7D-8C36692CE558}" dt="2023-09-20T11:03:26.875" v="3290"/>
          <ac:spMkLst>
            <pc:docMk/>
            <pc:sldMk cId="3668715625" sldId="2147375760"/>
            <ac:spMk id="33" creationId="{A8C78E81-2198-AE33-B9E8-C01EBEA3C1A3}"/>
          </ac:spMkLst>
        </pc:spChg>
        <pc:spChg chg="add del mod">
          <ac:chgData name="Jorge Costa" userId="6f0ed375-7d90-4a84-93f2-03ffaae48f30" providerId="ADAL" clId="{03E48706-ED28-4E40-9B7D-8C36692CE558}" dt="2023-09-20T14:47:00.914" v="79145" actId="478"/>
          <ac:spMkLst>
            <pc:docMk/>
            <pc:sldMk cId="3668715625" sldId="2147375760"/>
            <ac:spMk id="38" creationId="{48838545-D7DF-0802-04E0-11F75C54CFD7}"/>
          </ac:spMkLst>
        </pc:spChg>
        <pc:spChg chg="add del mod">
          <ac:chgData name="Jorge Costa" userId="6f0ed375-7d90-4a84-93f2-03ffaae48f30" providerId="ADAL" clId="{03E48706-ED28-4E40-9B7D-8C36692CE558}" dt="2023-09-20T14:19:15.193" v="72922" actId="478"/>
          <ac:spMkLst>
            <pc:docMk/>
            <pc:sldMk cId="3668715625" sldId="2147375760"/>
            <ac:spMk id="39" creationId="{28AABFDF-64EA-6E54-767C-C09A5AAFBC62}"/>
          </ac:spMkLst>
        </pc:spChg>
        <pc:spChg chg="mod">
          <ac:chgData name="Jorge Costa" userId="6f0ed375-7d90-4a84-93f2-03ffaae48f30" providerId="ADAL" clId="{03E48706-ED28-4E40-9B7D-8C36692CE558}" dt="2023-09-28T11:35:21.009" v="99899"/>
          <ac:spMkLst>
            <pc:docMk/>
            <pc:sldMk cId="3668715625" sldId="2147375760"/>
            <ac:spMk id="42" creationId="{C6F7F3AC-2D08-48DD-298D-E795E29A6434}"/>
          </ac:spMkLst>
        </pc:spChg>
        <pc:spChg chg="del mod">
          <ac:chgData name="Jorge Costa" userId="6f0ed375-7d90-4a84-93f2-03ffaae48f30" providerId="ADAL" clId="{03E48706-ED28-4E40-9B7D-8C36692CE558}" dt="2023-09-28T11:35:40.918" v="99935" actId="478"/>
          <ac:spMkLst>
            <pc:docMk/>
            <pc:sldMk cId="3668715625" sldId="2147375760"/>
            <ac:spMk id="43" creationId="{4348580F-A858-C94E-ACF4-B71415C99374}"/>
          </ac:spMkLst>
        </pc:spChg>
        <pc:spChg chg="del">
          <ac:chgData name="Jorge Costa" userId="6f0ed375-7d90-4a84-93f2-03ffaae48f30" providerId="ADAL" clId="{03E48706-ED28-4E40-9B7D-8C36692CE558}" dt="2023-09-20T12:31:28.337" v="5741" actId="478"/>
          <ac:spMkLst>
            <pc:docMk/>
            <pc:sldMk cId="3668715625" sldId="2147375760"/>
            <ac:spMk id="47" creationId="{27197166-AB93-0F46-F6A4-8882CBA9EDED}"/>
          </ac:spMkLst>
        </pc:spChg>
        <pc:spChg chg="del">
          <ac:chgData name="Jorge Costa" userId="6f0ed375-7d90-4a84-93f2-03ffaae48f30" providerId="ADAL" clId="{03E48706-ED28-4E40-9B7D-8C36692CE558}" dt="2023-09-20T12:31:21.182" v="5734" actId="478"/>
          <ac:spMkLst>
            <pc:docMk/>
            <pc:sldMk cId="3668715625" sldId="2147375760"/>
            <ac:spMk id="48" creationId="{0B26007C-B6A9-8880-8C48-F655731D6A9A}"/>
          </ac:spMkLst>
        </pc:spChg>
        <pc:spChg chg="del">
          <ac:chgData name="Jorge Costa" userId="6f0ed375-7d90-4a84-93f2-03ffaae48f30" providerId="ADAL" clId="{03E48706-ED28-4E40-9B7D-8C36692CE558}" dt="2023-09-20T12:31:29.713" v="5742" actId="478"/>
          <ac:spMkLst>
            <pc:docMk/>
            <pc:sldMk cId="3668715625" sldId="2147375760"/>
            <ac:spMk id="49" creationId="{C5378BE1-B0F8-E657-02A3-23C00558C820}"/>
          </ac:spMkLst>
        </pc:spChg>
        <pc:graphicFrameChg chg="mod">
          <ac:chgData name="Jorge Costa" userId="6f0ed375-7d90-4a84-93f2-03ffaae48f30" providerId="ADAL" clId="{03E48706-ED28-4E40-9B7D-8C36692CE558}" dt="2023-09-20T11:03:26.875" v="3292"/>
          <ac:graphicFrameMkLst>
            <pc:docMk/>
            <pc:sldMk cId="3668715625" sldId="2147375760"/>
            <ac:graphicFrameMk id="34" creationId="{77B9DEAE-63DD-8649-4C0C-F877FB731A85}"/>
          </ac:graphicFrameMkLst>
        </pc:graphicFrameChg>
        <pc:picChg chg="mod">
          <ac:chgData name="Jorge Costa" userId="6f0ed375-7d90-4a84-93f2-03ffaae48f30" providerId="ADAL" clId="{03E48706-ED28-4E40-9B7D-8C36692CE558}" dt="2023-09-28T11:36:37.473" v="99972" actId="1076"/>
          <ac:picMkLst>
            <pc:docMk/>
            <pc:sldMk cId="3668715625" sldId="2147375760"/>
            <ac:picMk id="18" creationId="{85F81B93-ADA4-D019-F096-5BDF06694E7B}"/>
          </ac:picMkLst>
        </pc:picChg>
        <pc:picChg chg="del">
          <ac:chgData name="Jorge Costa" userId="6f0ed375-7d90-4a84-93f2-03ffaae48f30" providerId="ADAL" clId="{03E48706-ED28-4E40-9B7D-8C36692CE558}" dt="2023-09-28T11:35:37.668" v="99934" actId="478"/>
          <ac:picMkLst>
            <pc:docMk/>
            <pc:sldMk cId="3668715625" sldId="2147375760"/>
            <ac:picMk id="44" creationId="{8A6A0193-CED4-79C6-A1A6-AA97B21A0BB6}"/>
          </ac:picMkLst>
        </pc:picChg>
        <pc:picChg chg="del">
          <ac:chgData name="Jorge Costa" userId="6f0ed375-7d90-4a84-93f2-03ffaae48f30" providerId="ADAL" clId="{03E48706-ED28-4E40-9B7D-8C36692CE558}" dt="2023-09-20T12:31:18.620" v="5732" actId="478"/>
          <ac:picMkLst>
            <pc:docMk/>
            <pc:sldMk cId="3668715625" sldId="2147375760"/>
            <ac:picMk id="45" creationId="{5CA6FF7F-BFE2-7E3C-FE40-DAA1330C4E26}"/>
          </ac:picMkLst>
        </pc:picChg>
        <pc:picChg chg="del">
          <ac:chgData name="Jorge Costa" userId="6f0ed375-7d90-4a84-93f2-03ffaae48f30" providerId="ADAL" clId="{03E48706-ED28-4E40-9B7D-8C36692CE558}" dt="2023-09-20T12:31:23.315" v="5736" actId="478"/>
          <ac:picMkLst>
            <pc:docMk/>
            <pc:sldMk cId="3668715625" sldId="2147375760"/>
            <ac:picMk id="46" creationId="{FEC6C143-AF56-2D79-78C6-A993C68CA521}"/>
          </ac:picMkLst>
        </pc:picChg>
        <pc:cxnChg chg="mod">
          <ac:chgData name="Jorge Costa" userId="6f0ed375-7d90-4a84-93f2-03ffaae48f30" providerId="ADAL" clId="{03E48706-ED28-4E40-9B7D-8C36692CE558}" dt="2023-09-28T11:36:33.838" v="99971" actId="14100"/>
          <ac:cxnSpMkLst>
            <pc:docMk/>
            <pc:sldMk cId="3668715625" sldId="2147375760"/>
            <ac:cxnSpMk id="5" creationId="{315C6822-965D-E5E8-62B3-7E5CDD85CC7B}"/>
          </ac:cxnSpMkLst>
        </pc:cxnChg>
        <pc:cxnChg chg="del">
          <ac:chgData name="Jorge Costa" userId="6f0ed375-7d90-4a84-93f2-03ffaae48f30" providerId="ADAL" clId="{03E48706-ED28-4E40-9B7D-8C36692CE558}" dt="2023-09-28T11:35:45.978" v="99939" actId="478"/>
          <ac:cxnSpMkLst>
            <pc:docMk/>
            <pc:sldMk cId="3668715625" sldId="2147375760"/>
            <ac:cxnSpMk id="12" creationId="{CF0DE015-E4C3-4E78-25F3-B6A38F4E7210}"/>
          </ac:cxnSpMkLst>
        </pc:cxnChg>
        <pc:cxnChg chg="del mod">
          <ac:chgData name="Jorge Costa" userId="6f0ed375-7d90-4a84-93f2-03ffaae48f30" providerId="ADAL" clId="{03E48706-ED28-4E40-9B7D-8C36692CE558}" dt="2023-09-20T12:31:17.659" v="5731" actId="478"/>
          <ac:cxnSpMkLst>
            <pc:docMk/>
            <pc:sldMk cId="3668715625" sldId="2147375760"/>
            <ac:cxnSpMk id="13" creationId="{CF6FF072-56F3-FAFA-D989-D94C9057D794}"/>
          </ac:cxnSpMkLst>
        </pc:cxnChg>
        <pc:cxnChg chg="del mod">
          <ac:chgData name="Jorge Costa" userId="6f0ed375-7d90-4a84-93f2-03ffaae48f30" providerId="ADAL" clId="{03E48706-ED28-4E40-9B7D-8C36692CE558}" dt="2023-09-20T12:31:24.260" v="5737" actId="478"/>
          <ac:cxnSpMkLst>
            <pc:docMk/>
            <pc:sldMk cId="3668715625" sldId="2147375760"/>
            <ac:cxnSpMk id="14" creationId="{6E324E30-54A5-B6C7-B51C-5ECC2D86A377}"/>
          </ac:cxnSpMkLst>
        </pc:cxnChg>
      </pc:sldChg>
      <pc:sldChg chg="addSp delSp modSp mod">
        <pc:chgData name="Jorge Costa" userId="6f0ed375-7d90-4a84-93f2-03ffaae48f30" providerId="ADAL" clId="{03E48706-ED28-4E40-9B7D-8C36692CE558}" dt="2023-09-20T14:13:59.626" v="72839" actId="20577"/>
        <pc:sldMkLst>
          <pc:docMk/>
          <pc:sldMk cId="2881901733" sldId="2147375762"/>
        </pc:sldMkLst>
        <pc:spChg chg="mod">
          <ac:chgData name="Jorge Costa" userId="6f0ed375-7d90-4a84-93f2-03ffaae48f30" providerId="ADAL" clId="{03E48706-ED28-4E40-9B7D-8C36692CE558}" dt="2023-09-20T11:03:14.540" v="2941" actId="948"/>
          <ac:spMkLst>
            <pc:docMk/>
            <pc:sldMk cId="2881901733" sldId="2147375762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1:03:09.015" v="2842"/>
          <ac:spMkLst>
            <pc:docMk/>
            <pc:sldMk cId="2881901733" sldId="2147375762"/>
            <ac:spMk id="3" creationId="{1F4A058B-6084-6FAB-B33E-13BA4F08358D}"/>
          </ac:spMkLst>
        </pc:spChg>
        <pc:spChg chg="mod">
          <ac:chgData name="Jorge Costa" userId="6f0ed375-7d90-4a84-93f2-03ffaae48f30" providerId="ADAL" clId="{03E48706-ED28-4E40-9B7D-8C36692CE558}" dt="2023-09-20T10:49:18.778" v="2342" actId="20577"/>
          <ac:spMkLst>
            <pc:docMk/>
            <pc:sldMk cId="2881901733" sldId="2147375762"/>
            <ac:spMk id="15" creationId="{3A26E4A3-D678-10E2-82E8-7AEC8D984566}"/>
          </ac:spMkLst>
        </pc:spChg>
        <pc:spChg chg="mod">
          <ac:chgData name="Jorge Costa" userId="6f0ed375-7d90-4a84-93f2-03ffaae48f30" providerId="ADAL" clId="{03E48706-ED28-4E40-9B7D-8C36692CE558}" dt="2023-09-20T10:49:21.170" v="2346" actId="20577"/>
          <ac:spMkLst>
            <pc:docMk/>
            <pc:sldMk cId="2881901733" sldId="2147375762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09-20T10:48:54.369" v="2331" actId="6549"/>
          <ac:spMkLst>
            <pc:docMk/>
            <pc:sldMk cId="2881901733" sldId="2147375762"/>
            <ac:spMk id="17" creationId="{E5294197-8CE1-1A49-295A-F701A4DA949F}"/>
          </ac:spMkLst>
        </pc:spChg>
        <pc:spChg chg="mod">
          <ac:chgData name="Jorge Costa" userId="6f0ed375-7d90-4a84-93f2-03ffaae48f30" providerId="ADAL" clId="{03E48706-ED28-4E40-9B7D-8C36692CE558}" dt="2023-09-20T10:49:07.048" v="2336" actId="1076"/>
          <ac:spMkLst>
            <pc:docMk/>
            <pc:sldMk cId="2881901733" sldId="2147375762"/>
            <ac:spMk id="21" creationId="{8835D2BD-83DA-5C18-EBC6-40C792FD986B}"/>
          </ac:spMkLst>
        </pc:spChg>
        <pc:spChg chg="add del mod modVis">
          <ac:chgData name="Jorge Costa" userId="6f0ed375-7d90-4a84-93f2-03ffaae48f30" providerId="ADAL" clId="{03E48706-ED28-4E40-9B7D-8C36692CE558}" dt="2023-09-20T11:03:09.825" v="2888"/>
          <ac:spMkLst>
            <pc:docMk/>
            <pc:sldMk cId="2881901733" sldId="2147375762"/>
            <ac:spMk id="26" creationId="{752D6EAA-1B58-3FF8-8F57-5C236F4064CB}"/>
          </ac:spMkLst>
        </pc:spChg>
        <pc:spChg chg="add del mod modVis">
          <ac:chgData name="Jorge Costa" userId="6f0ed375-7d90-4a84-93f2-03ffaae48f30" providerId="ADAL" clId="{03E48706-ED28-4E40-9B7D-8C36692CE558}" dt="2023-09-20T11:03:13.699" v="2935"/>
          <ac:spMkLst>
            <pc:docMk/>
            <pc:sldMk cId="2881901733" sldId="2147375762"/>
            <ac:spMk id="27" creationId="{37219AF4-596E-7BB0-FC34-BE450B36AFC4}"/>
          </ac:spMkLst>
        </pc:spChg>
        <pc:spChg chg="add del mod modVis">
          <ac:chgData name="Jorge Costa" userId="6f0ed375-7d90-4a84-93f2-03ffaae48f30" providerId="ADAL" clId="{03E48706-ED28-4E40-9B7D-8C36692CE558}" dt="2023-09-20T11:03:14.576" v="2982"/>
          <ac:spMkLst>
            <pc:docMk/>
            <pc:sldMk cId="2881901733" sldId="2147375762"/>
            <ac:spMk id="28" creationId="{BAA29926-E8E9-E222-18D1-354DE656C52A}"/>
          </ac:spMkLst>
        </pc:spChg>
        <pc:spChg chg="del">
          <ac:chgData name="Jorge Costa" userId="6f0ed375-7d90-4a84-93f2-03ffaae48f30" providerId="ADAL" clId="{03E48706-ED28-4E40-9B7D-8C36692CE558}" dt="2023-09-20T11:00:24.376" v="2520" actId="478"/>
          <ac:spMkLst>
            <pc:docMk/>
            <pc:sldMk cId="2881901733" sldId="2147375762"/>
            <ac:spMk id="35" creationId="{1021298B-6FFF-6FBE-84C9-491E355CC1B5}"/>
          </ac:spMkLst>
        </pc:spChg>
        <pc:spChg chg="mod">
          <ac:chgData name="Jorge Costa" userId="6f0ed375-7d90-4a84-93f2-03ffaae48f30" providerId="ADAL" clId="{03E48706-ED28-4E40-9B7D-8C36692CE558}" dt="2023-09-20T14:03:34.419" v="72583" actId="6549"/>
          <ac:spMkLst>
            <pc:docMk/>
            <pc:sldMk cId="2881901733" sldId="2147375762"/>
            <ac:spMk id="42" creationId="{C6F7F3AC-2D08-48DD-298D-E795E29A6434}"/>
          </ac:spMkLst>
        </pc:spChg>
        <pc:spChg chg="mod">
          <ac:chgData name="Jorge Costa" userId="6f0ed375-7d90-4a84-93f2-03ffaae48f30" providerId="ADAL" clId="{03E48706-ED28-4E40-9B7D-8C36692CE558}" dt="2023-09-20T14:12:08.899" v="72803" actId="5793"/>
          <ac:spMkLst>
            <pc:docMk/>
            <pc:sldMk cId="2881901733" sldId="2147375762"/>
            <ac:spMk id="43" creationId="{4348580F-A858-C94E-ACF4-B71415C99374}"/>
          </ac:spMkLst>
        </pc:spChg>
        <pc:spChg chg="mod">
          <ac:chgData name="Jorge Costa" userId="6f0ed375-7d90-4a84-93f2-03ffaae48f30" providerId="ADAL" clId="{03E48706-ED28-4E40-9B7D-8C36692CE558}" dt="2023-09-20T10:49:23.688" v="2350" actId="20577"/>
          <ac:spMkLst>
            <pc:docMk/>
            <pc:sldMk cId="2881901733" sldId="2147375762"/>
            <ac:spMk id="47" creationId="{27197166-AB93-0F46-F6A4-8882CBA9EDED}"/>
          </ac:spMkLst>
        </pc:spChg>
        <pc:spChg chg="mod">
          <ac:chgData name="Jorge Costa" userId="6f0ed375-7d90-4a84-93f2-03ffaae48f30" providerId="ADAL" clId="{03E48706-ED28-4E40-9B7D-8C36692CE558}" dt="2023-09-20T14:10:16.692" v="72706" actId="6549"/>
          <ac:spMkLst>
            <pc:docMk/>
            <pc:sldMk cId="2881901733" sldId="2147375762"/>
            <ac:spMk id="48" creationId="{0B26007C-B6A9-8880-8C48-F655731D6A9A}"/>
          </ac:spMkLst>
        </pc:spChg>
        <pc:spChg chg="mod">
          <ac:chgData name="Jorge Costa" userId="6f0ed375-7d90-4a84-93f2-03ffaae48f30" providerId="ADAL" clId="{03E48706-ED28-4E40-9B7D-8C36692CE558}" dt="2023-09-20T14:13:59.626" v="72839" actId="20577"/>
          <ac:spMkLst>
            <pc:docMk/>
            <pc:sldMk cId="2881901733" sldId="2147375762"/>
            <ac:spMk id="49" creationId="{C5378BE1-B0F8-E657-02A3-23C00558C820}"/>
          </ac:spMkLst>
        </pc:spChg>
        <pc:graphicFrameChg chg="mod">
          <ac:chgData name="Jorge Costa" userId="6f0ed375-7d90-4a84-93f2-03ffaae48f30" providerId="ADAL" clId="{03E48706-ED28-4E40-9B7D-8C36692CE558}" dt="2023-09-20T11:03:14.576" v="2984"/>
          <ac:graphicFrameMkLst>
            <pc:docMk/>
            <pc:sldMk cId="2881901733" sldId="2147375762"/>
            <ac:graphicFrameMk id="34" creationId="{77B9DEAE-63DD-8649-4C0C-F877FB731A85}"/>
          </ac:graphicFrameMkLst>
        </pc:graphicFrameChg>
        <pc:cxnChg chg="del">
          <ac:chgData name="Jorge Costa" userId="6f0ed375-7d90-4a84-93f2-03ffaae48f30" providerId="ADAL" clId="{03E48706-ED28-4E40-9B7D-8C36692CE558}" dt="2023-09-20T11:00:23.065" v="2519" actId="478"/>
          <ac:cxnSpMkLst>
            <pc:docMk/>
            <pc:sldMk cId="2881901733" sldId="2147375762"/>
            <ac:cxnSpMk id="30" creationId="{D24C78F2-FB55-AA50-115F-9E181277C4AC}"/>
          </ac:cxnSpMkLst>
        </pc:cxnChg>
      </pc:sldChg>
      <pc:sldChg chg="modSp mod">
        <pc:chgData name="Jorge Costa" userId="6f0ed375-7d90-4a84-93f2-03ffaae48f30" providerId="ADAL" clId="{03E48706-ED28-4E40-9B7D-8C36692CE558}" dt="2023-09-20T14:38:56.416" v="75211" actId="20577"/>
        <pc:sldMkLst>
          <pc:docMk/>
          <pc:sldMk cId="3402242140" sldId="2147375763"/>
        </pc:sldMkLst>
        <pc:spChg chg="mod">
          <ac:chgData name="Jorge Costa" userId="6f0ed375-7d90-4a84-93f2-03ffaae48f30" providerId="ADAL" clId="{03E48706-ED28-4E40-9B7D-8C36692CE558}" dt="2023-09-20T14:38:56.416" v="75211" actId="20577"/>
          <ac:spMkLst>
            <pc:docMk/>
            <pc:sldMk cId="3402242140" sldId="2147375763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28.961" v="3951"/>
          <ac:spMkLst>
            <pc:docMk/>
            <pc:sldMk cId="3402242140" sldId="2147375763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09.706" v="75241" actId="6549"/>
        <pc:sldMkLst>
          <pc:docMk/>
          <pc:sldMk cId="3595199535" sldId="2147375764"/>
        </pc:sldMkLst>
        <pc:spChg chg="mod">
          <ac:chgData name="Jorge Costa" userId="6f0ed375-7d90-4a84-93f2-03ffaae48f30" providerId="ADAL" clId="{03E48706-ED28-4E40-9B7D-8C36692CE558}" dt="2023-09-20T14:39:09.706" v="75241" actId="6549"/>
          <ac:spMkLst>
            <pc:docMk/>
            <pc:sldMk cId="3595199535" sldId="2147375764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21.804" v="3948"/>
          <ac:spMkLst>
            <pc:docMk/>
            <pc:sldMk cId="3595199535" sldId="2147375764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16.168" v="75256" actId="6549"/>
        <pc:sldMkLst>
          <pc:docMk/>
          <pc:sldMk cId="4220431729" sldId="2147375765"/>
        </pc:sldMkLst>
        <pc:spChg chg="mod">
          <ac:chgData name="Jorge Costa" userId="6f0ed375-7d90-4a84-93f2-03ffaae48f30" providerId="ADAL" clId="{03E48706-ED28-4E40-9B7D-8C36692CE558}" dt="2023-09-20T14:39:16.168" v="75256" actId="6549"/>
          <ac:spMkLst>
            <pc:docMk/>
            <pc:sldMk cId="4220431729" sldId="2147375765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40.898" v="3957"/>
          <ac:spMkLst>
            <pc:docMk/>
            <pc:sldMk cId="4220431729" sldId="2147375765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21.770" v="75271" actId="6549"/>
        <pc:sldMkLst>
          <pc:docMk/>
          <pc:sldMk cId="1721826899" sldId="2147375766"/>
        </pc:sldMkLst>
        <pc:spChg chg="mod">
          <ac:chgData name="Jorge Costa" userId="6f0ed375-7d90-4a84-93f2-03ffaae48f30" providerId="ADAL" clId="{03E48706-ED28-4E40-9B7D-8C36692CE558}" dt="2023-09-20T14:39:21.770" v="75271" actId="6549"/>
          <ac:spMkLst>
            <pc:docMk/>
            <pc:sldMk cId="1721826899" sldId="2147375766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46.752" v="3960"/>
          <ac:spMkLst>
            <pc:docMk/>
            <pc:sldMk cId="1721826899" sldId="2147375766"/>
            <ac:spMk id="17" creationId="{EC20F76B-4421-69CF-B455-88358336714B}"/>
          </ac:spMkLst>
        </pc:spChg>
      </pc:sldChg>
      <pc:sldChg chg="addSp delSp modSp mod">
        <pc:chgData name="Jorge Costa" userId="6f0ed375-7d90-4a84-93f2-03ffaae48f30" providerId="ADAL" clId="{03E48706-ED28-4E40-9B7D-8C36692CE558}" dt="2023-09-20T14:38:06.666" v="75196" actId="20577"/>
        <pc:sldMkLst>
          <pc:docMk/>
          <pc:sldMk cId="1956892214" sldId="2147375767"/>
        </pc:sldMkLst>
        <pc:spChg chg="mod">
          <ac:chgData name="Jorge Costa" userId="6f0ed375-7d90-4a84-93f2-03ffaae48f30" providerId="ADAL" clId="{03E48706-ED28-4E40-9B7D-8C36692CE558}" dt="2023-09-20T10:27:04.063" v="473" actId="948"/>
          <ac:spMkLst>
            <pc:docMk/>
            <pc:sldMk cId="1956892214" sldId="2147375767"/>
            <ac:spMk id="2" creationId="{82EE5123-E9C8-5E14-53F6-938C01D83CA6}"/>
          </ac:spMkLst>
        </pc:spChg>
        <pc:spChg chg="add del mod modVis">
          <ac:chgData name="Jorge Costa" userId="6f0ed375-7d90-4a84-93f2-03ffaae48f30" providerId="ADAL" clId="{03E48706-ED28-4E40-9B7D-8C36692CE558}" dt="2023-09-20T10:26:25.063" v="65"/>
          <ac:spMkLst>
            <pc:docMk/>
            <pc:sldMk cId="1956892214" sldId="2147375767"/>
            <ac:spMk id="3" creationId="{821D9BAB-2AB5-175D-8927-78FAB9983DFB}"/>
          </ac:spMkLst>
        </pc:spChg>
        <pc:spChg chg="add del mod modVis">
          <ac:chgData name="Jorge Costa" userId="6f0ed375-7d90-4a84-93f2-03ffaae48f30" providerId="ADAL" clId="{03E48706-ED28-4E40-9B7D-8C36692CE558}" dt="2023-09-20T10:26:25.676" v="110"/>
          <ac:spMkLst>
            <pc:docMk/>
            <pc:sldMk cId="1956892214" sldId="2147375767"/>
            <ac:spMk id="6" creationId="{672A62B8-7D30-9642-C3F6-62A760A4B217}"/>
          </ac:spMkLst>
        </pc:spChg>
        <pc:spChg chg="add del mod modVis">
          <ac:chgData name="Jorge Costa" userId="6f0ed375-7d90-4a84-93f2-03ffaae48f30" providerId="ADAL" clId="{03E48706-ED28-4E40-9B7D-8C36692CE558}" dt="2023-09-20T10:26:50.943" v="160"/>
          <ac:spMkLst>
            <pc:docMk/>
            <pc:sldMk cId="1956892214" sldId="2147375767"/>
            <ac:spMk id="8" creationId="{6ED38E27-ED68-8F9A-6327-517557ED9C35}"/>
          </ac:spMkLst>
        </pc:spChg>
        <pc:spChg chg="add del mod modVis">
          <ac:chgData name="Jorge Costa" userId="6f0ed375-7d90-4a84-93f2-03ffaae48f30" providerId="ADAL" clId="{03E48706-ED28-4E40-9B7D-8C36692CE558}" dt="2023-09-20T10:26:57.568" v="211"/>
          <ac:spMkLst>
            <pc:docMk/>
            <pc:sldMk cId="1956892214" sldId="2147375767"/>
            <ac:spMk id="9" creationId="{15D3A20C-AD77-9F04-3724-F3A7A09D0987}"/>
          </ac:spMkLst>
        </pc:spChg>
        <pc:spChg chg="add del mod modVis">
          <ac:chgData name="Jorge Costa" userId="6f0ed375-7d90-4a84-93f2-03ffaae48f30" providerId="ADAL" clId="{03E48706-ED28-4E40-9B7D-8C36692CE558}" dt="2023-09-20T10:26:58.104" v="256"/>
          <ac:spMkLst>
            <pc:docMk/>
            <pc:sldMk cId="1956892214" sldId="2147375767"/>
            <ac:spMk id="10" creationId="{64E2FF91-46C8-8757-ED07-3FCF3A7FC34C}"/>
          </ac:spMkLst>
        </pc:spChg>
        <pc:spChg chg="add del mod modVis">
          <ac:chgData name="Jorge Costa" userId="6f0ed375-7d90-4a84-93f2-03ffaae48f30" providerId="ADAL" clId="{03E48706-ED28-4E40-9B7D-8C36692CE558}" dt="2023-09-20T10:26:58.733" v="302"/>
          <ac:spMkLst>
            <pc:docMk/>
            <pc:sldMk cId="1956892214" sldId="2147375767"/>
            <ac:spMk id="11" creationId="{CD743C4B-91BE-D522-4EEE-6153D383D064}"/>
          </ac:spMkLst>
        </pc:spChg>
        <pc:spChg chg="add del mod modVis">
          <ac:chgData name="Jorge Costa" userId="6f0ed375-7d90-4a84-93f2-03ffaae48f30" providerId="ADAL" clId="{03E48706-ED28-4E40-9B7D-8C36692CE558}" dt="2023-09-20T10:27:00.215" v="353"/>
          <ac:spMkLst>
            <pc:docMk/>
            <pc:sldMk cId="1956892214" sldId="2147375767"/>
            <ac:spMk id="12" creationId="{B223186E-F3FA-39CB-D25C-1FDA8021870C}"/>
          </ac:spMkLst>
        </pc:spChg>
        <pc:spChg chg="add del mod modVis">
          <ac:chgData name="Jorge Costa" userId="6f0ed375-7d90-4a84-93f2-03ffaae48f30" providerId="ADAL" clId="{03E48706-ED28-4E40-9B7D-8C36692CE558}" dt="2023-09-20T10:27:01.273" v="399"/>
          <ac:spMkLst>
            <pc:docMk/>
            <pc:sldMk cId="1956892214" sldId="2147375767"/>
            <ac:spMk id="13" creationId="{9C1304DD-41F0-9425-C62E-12C73385ECA8}"/>
          </ac:spMkLst>
        </pc:spChg>
        <pc:spChg chg="add del mod modVis">
          <ac:chgData name="Jorge Costa" userId="6f0ed375-7d90-4a84-93f2-03ffaae48f30" providerId="ADAL" clId="{03E48706-ED28-4E40-9B7D-8C36692CE558}" dt="2023-09-20T10:27:02.193" v="446"/>
          <ac:spMkLst>
            <pc:docMk/>
            <pc:sldMk cId="1956892214" sldId="2147375767"/>
            <ac:spMk id="14" creationId="{1F068177-FB18-99CF-279C-6ED93A8A8055}"/>
          </ac:spMkLst>
        </pc:spChg>
        <pc:spChg chg="add del mod modVis">
          <ac:chgData name="Jorge Costa" userId="6f0ed375-7d90-4a84-93f2-03ffaae48f30" providerId="ADAL" clId="{03E48706-ED28-4E40-9B7D-8C36692CE558}" dt="2023-09-20T10:27:04.092" v="514"/>
          <ac:spMkLst>
            <pc:docMk/>
            <pc:sldMk cId="1956892214" sldId="2147375767"/>
            <ac:spMk id="15" creationId="{8E422C7C-B769-53E4-84C9-D696C968D3A0}"/>
          </ac:spMkLst>
        </pc:spChg>
        <pc:spChg chg="mod">
          <ac:chgData name="Jorge Costa" userId="6f0ed375-7d90-4a84-93f2-03ffaae48f30" providerId="ADAL" clId="{03E48706-ED28-4E40-9B7D-8C36692CE558}" dt="2023-09-20T10:36:20.175" v="1976" actId="14100"/>
          <ac:spMkLst>
            <pc:docMk/>
            <pc:sldMk cId="1956892214" sldId="2147375767"/>
            <ac:spMk id="16" creationId="{16C7B797-E620-33E3-687A-E39049BF897F}"/>
          </ac:spMkLst>
        </pc:spChg>
        <pc:spChg chg="mod">
          <ac:chgData name="Jorge Costa" userId="6f0ed375-7d90-4a84-93f2-03ffaae48f30" providerId="ADAL" clId="{03E48706-ED28-4E40-9B7D-8C36692CE558}" dt="2023-09-20T14:38:06.666" v="75196" actId="20577"/>
          <ac:spMkLst>
            <pc:docMk/>
            <pc:sldMk cId="1956892214" sldId="2147375767"/>
            <ac:spMk id="18" creationId="{83D7ADC0-A9D1-4BD0-FC47-F686DCFA99AB}"/>
          </ac:spMkLst>
        </pc:spChg>
        <pc:spChg chg="mod">
          <ac:chgData name="Jorge Costa" userId="6f0ed375-7d90-4a84-93f2-03ffaae48f30" providerId="ADAL" clId="{03E48706-ED28-4E40-9B7D-8C36692CE558}" dt="2023-09-20T10:34:47.011" v="1806" actId="20577"/>
          <ac:spMkLst>
            <pc:docMk/>
            <pc:sldMk cId="1956892214" sldId="2147375767"/>
            <ac:spMk id="19" creationId="{DFA9F9A3-51F0-A1D3-17DE-F52187A89CB5}"/>
          </ac:spMkLst>
        </pc:spChg>
        <pc:spChg chg="del">
          <ac:chgData name="Jorge Costa" userId="6f0ed375-7d90-4a84-93f2-03ffaae48f30" providerId="ADAL" clId="{03E48706-ED28-4E40-9B7D-8C36692CE558}" dt="2023-09-20T10:37:45.554" v="2041" actId="478"/>
          <ac:spMkLst>
            <pc:docMk/>
            <pc:sldMk cId="1956892214" sldId="2147375767"/>
            <ac:spMk id="27" creationId="{3B164CAE-D0A7-66D5-8388-3547912E287C}"/>
          </ac:spMkLst>
        </pc:spChg>
        <pc:graphicFrameChg chg="mod">
          <ac:chgData name="Jorge Costa" userId="6f0ed375-7d90-4a84-93f2-03ffaae48f30" providerId="ADAL" clId="{03E48706-ED28-4E40-9B7D-8C36692CE558}" dt="2023-09-20T10:27:04.092" v="516"/>
          <ac:graphicFrameMkLst>
            <pc:docMk/>
            <pc:sldMk cId="1956892214" sldId="2147375767"/>
            <ac:graphicFrameMk id="7" creationId="{49183F9B-B0CF-E37C-8F0E-E13E6E7D6FE7}"/>
          </ac:graphicFrameMkLst>
        </pc:graphicFrameChg>
      </pc:sldChg>
      <pc:sldChg chg="del">
        <pc:chgData name="Jorge Costa" userId="6f0ed375-7d90-4a84-93f2-03ffaae48f30" providerId="ADAL" clId="{03E48706-ED28-4E40-9B7D-8C36692CE558}" dt="2023-09-20T11:14:26.012" v="4255" actId="47"/>
        <pc:sldMkLst>
          <pc:docMk/>
          <pc:sldMk cId="2197147779" sldId="2147375768"/>
        </pc:sldMkLst>
      </pc:sldChg>
      <pc:sldChg chg="addSp delSp modSp mod">
        <pc:chgData name="Jorge Costa" userId="6f0ed375-7d90-4a84-93f2-03ffaae48f30" providerId="ADAL" clId="{03E48706-ED28-4E40-9B7D-8C36692CE558}" dt="2023-10-04T12:05:34.390" v="100795" actId="20577"/>
        <pc:sldMkLst>
          <pc:docMk/>
          <pc:sldMk cId="1466692153" sldId="2147375769"/>
        </pc:sldMkLst>
        <pc:spChg chg="del">
          <ac:chgData name="Jorge Costa" userId="6f0ed375-7d90-4a84-93f2-03ffaae48f30" providerId="ADAL" clId="{03E48706-ED28-4E40-9B7D-8C36692CE558}" dt="2023-09-20T11:09:02.694" v="3961" actId="478"/>
          <ac:spMkLst>
            <pc:docMk/>
            <pc:sldMk cId="1466692153" sldId="2147375769"/>
            <ac:spMk id="3" creationId="{323915CB-38E5-0903-E6B0-4085B3CC2387}"/>
          </ac:spMkLst>
        </pc:spChg>
        <pc:spChg chg="add del mod">
          <ac:chgData name="Jorge Costa" userId="6f0ed375-7d90-4a84-93f2-03ffaae48f30" providerId="ADAL" clId="{03E48706-ED28-4E40-9B7D-8C36692CE558}" dt="2023-09-20T11:09:08.176" v="3962" actId="478"/>
          <ac:spMkLst>
            <pc:docMk/>
            <pc:sldMk cId="1466692153" sldId="2147375769"/>
            <ac:spMk id="7" creationId="{C4968FB4-8EB2-84D4-06DA-92AC89A8F304}"/>
          </ac:spMkLst>
        </pc:spChg>
        <pc:spChg chg="add mod">
          <ac:chgData name="Jorge Costa" userId="6f0ed375-7d90-4a84-93f2-03ffaae48f30" providerId="ADAL" clId="{03E48706-ED28-4E40-9B7D-8C36692CE558}" dt="2023-10-02T10:41:58.973" v="99993" actId="14100"/>
          <ac:spMkLst>
            <pc:docMk/>
            <pc:sldMk cId="1466692153" sldId="2147375769"/>
            <ac:spMk id="8" creationId="{EA5DF6BA-1848-544D-C1EA-E103CB94F5A4}"/>
          </ac:spMkLst>
        </pc:spChg>
        <pc:spChg chg="add mod">
          <ac:chgData name="Jorge Costa" userId="6f0ed375-7d90-4a84-93f2-03ffaae48f30" providerId="ADAL" clId="{03E48706-ED28-4E40-9B7D-8C36692CE558}" dt="2023-10-04T12:05:34.390" v="100795" actId="20577"/>
          <ac:spMkLst>
            <pc:docMk/>
            <pc:sldMk cId="1466692153" sldId="2147375769"/>
            <ac:spMk id="10" creationId="{92008CC3-2736-A21B-45F1-76BF49C5EE0A}"/>
          </ac:spMkLst>
        </pc:spChg>
        <pc:spChg chg="mod">
          <ac:chgData name="Jorge Costa" userId="6f0ed375-7d90-4a84-93f2-03ffaae48f30" providerId="ADAL" clId="{03E48706-ED28-4E40-9B7D-8C36692CE558}" dt="2023-10-02T10:42:02.636" v="99994" actId="14100"/>
          <ac:spMkLst>
            <pc:docMk/>
            <pc:sldMk cId="1466692153" sldId="2147375769"/>
            <ac:spMk id="13" creationId="{A676F9F3-9A76-F31D-5304-488E8ECD160B}"/>
          </ac:spMkLst>
        </pc:spChg>
        <pc:spChg chg="mod">
          <ac:chgData name="Jorge Costa" userId="6f0ed375-7d90-4a84-93f2-03ffaae48f30" providerId="ADAL" clId="{03E48706-ED28-4E40-9B7D-8C36692CE558}" dt="2023-09-20T11:54:08.562" v="4673" actId="20577"/>
          <ac:spMkLst>
            <pc:docMk/>
            <pc:sldMk cId="1466692153" sldId="2147375769"/>
            <ac:spMk id="14" creationId="{D3CB110A-6FC3-9717-434B-8E4CDD15257E}"/>
          </ac:spMkLst>
        </pc:spChg>
        <pc:spChg chg="del">
          <ac:chgData name="Jorge Costa" userId="6f0ed375-7d90-4a84-93f2-03ffaae48f30" providerId="ADAL" clId="{03E48706-ED28-4E40-9B7D-8C36692CE558}" dt="2023-09-20T14:47:28.034" v="79147" actId="478"/>
          <ac:spMkLst>
            <pc:docMk/>
            <pc:sldMk cId="1466692153" sldId="2147375769"/>
            <ac:spMk id="17" creationId="{6F994D58-6876-8DC2-2149-3C235B06AA3C}"/>
          </ac:spMkLst>
        </pc:spChg>
        <pc:picChg chg="add mod">
          <ac:chgData name="Jorge Costa" userId="6f0ed375-7d90-4a84-93f2-03ffaae48f30" providerId="ADAL" clId="{03E48706-ED28-4E40-9B7D-8C36692CE558}" dt="2023-09-20T11:13:16.867" v="4248" actId="1076"/>
          <ac:picMkLst>
            <pc:docMk/>
            <pc:sldMk cId="1466692153" sldId="2147375769"/>
            <ac:picMk id="9" creationId="{3F316665-D2BB-2D84-8FCD-7985D0978DF7}"/>
          </ac:picMkLst>
        </pc:picChg>
        <pc:picChg chg="del">
          <ac:chgData name="Jorge Costa" userId="6f0ed375-7d90-4a84-93f2-03ffaae48f30" providerId="ADAL" clId="{03E48706-ED28-4E40-9B7D-8C36692CE558}" dt="2023-09-20T11:09:08.925" v="3963" actId="478"/>
          <ac:picMkLst>
            <pc:docMk/>
            <pc:sldMk cId="1466692153" sldId="2147375769"/>
            <ac:picMk id="11" creationId="{6F8A99F9-A4E6-EF1D-FAA8-56BD18876325}"/>
          </ac:picMkLst>
        </pc:picChg>
        <pc:picChg chg="mod">
          <ac:chgData name="Jorge Costa" userId="6f0ed375-7d90-4a84-93f2-03ffaae48f30" providerId="ADAL" clId="{03E48706-ED28-4E40-9B7D-8C36692CE558}" dt="2023-09-20T11:13:44.138" v="4254" actId="1076"/>
          <ac:picMkLst>
            <pc:docMk/>
            <pc:sldMk cId="1466692153" sldId="2147375769"/>
            <ac:picMk id="15" creationId="{B52E3C8E-1F6A-C13C-2A5F-F55B3A7EA7C0}"/>
          </ac:picMkLst>
        </pc:picChg>
      </pc:sldChg>
      <pc:sldChg chg="addSp delSp modSp mod">
        <pc:chgData name="Jorge Costa" userId="6f0ed375-7d90-4a84-93f2-03ffaae48f30" providerId="ADAL" clId="{03E48706-ED28-4E40-9B7D-8C36692CE558}" dt="2023-09-20T14:47:24.065" v="79146" actId="478"/>
        <pc:sldMkLst>
          <pc:docMk/>
          <pc:sldMk cId="1543446496" sldId="2147375771"/>
        </pc:sldMkLst>
        <pc:spChg chg="mod">
          <ac:chgData name="Jorge Costa" userId="6f0ed375-7d90-4a84-93f2-03ffaae48f30" providerId="ADAL" clId="{03E48706-ED28-4E40-9B7D-8C36692CE558}" dt="2023-09-20T11:08:06.999" v="3902" actId="948"/>
          <ac:spMkLst>
            <pc:docMk/>
            <pc:sldMk cId="1543446496" sldId="2147375771"/>
            <ac:spMk id="2" creationId="{D2B45532-4806-5CD7-BCDF-33EE7544CA7E}"/>
          </ac:spMkLst>
        </pc:spChg>
        <pc:spChg chg="add mod">
          <ac:chgData name="Jorge Costa" userId="6f0ed375-7d90-4a84-93f2-03ffaae48f30" providerId="ADAL" clId="{03E48706-ED28-4E40-9B7D-8C36692CE558}" dt="2023-09-20T11:57:45.204" v="4707" actId="1076"/>
          <ac:spMkLst>
            <pc:docMk/>
            <pc:sldMk cId="1543446496" sldId="2147375771"/>
            <ac:spMk id="3" creationId="{2F1EA745-D9B9-87C3-AAFD-C2FF26DF4B0A}"/>
          </ac:spMkLst>
        </pc:spChg>
        <pc:spChg chg="add mod">
          <ac:chgData name="Jorge Costa" userId="6f0ed375-7d90-4a84-93f2-03ffaae48f30" providerId="ADAL" clId="{03E48706-ED28-4E40-9B7D-8C36692CE558}" dt="2023-09-20T12:18:09.727" v="4864" actId="20577"/>
          <ac:spMkLst>
            <pc:docMk/>
            <pc:sldMk cId="1543446496" sldId="2147375771"/>
            <ac:spMk id="5" creationId="{B8C2BD23-D1B7-F9E8-242D-9AFC698A3978}"/>
          </ac:spMkLst>
        </pc:spChg>
        <pc:spChg chg="add mod">
          <ac:chgData name="Jorge Costa" userId="6f0ed375-7d90-4a84-93f2-03ffaae48f30" providerId="ADAL" clId="{03E48706-ED28-4E40-9B7D-8C36692CE558}" dt="2023-09-20T11:05:26.844" v="3460" actId="6549"/>
          <ac:spMkLst>
            <pc:docMk/>
            <pc:sldMk cId="1543446496" sldId="2147375771"/>
            <ac:spMk id="7" creationId="{EDBA0A50-454A-62B1-282A-2375CE2FD25F}"/>
          </ac:spMkLst>
        </pc:spChg>
        <pc:spChg chg="add mod">
          <ac:chgData name="Jorge Costa" userId="6f0ed375-7d90-4a84-93f2-03ffaae48f30" providerId="ADAL" clId="{03E48706-ED28-4E40-9B7D-8C36692CE558}" dt="2023-09-20T11:06:03.131" v="3526" actId="6549"/>
          <ac:spMkLst>
            <pc:docMk/>
            <pc:sldMk cId="1543446496" sldId="2147375771"/>
            <ac:spMk id="8" creationId="{9CC8A76A-E407-BD17-8376-61F9BB3B4BE8}"/>
          </ac:spMkLst>
        </pc:spChg>
        <pc:spChg chg="add del mod modVis">
          <ac:chgData name="Jorge Costa" userId="6f0ed375-7d90-4a84-93f2-03ffaae48f30" providerId="ADAL" clId="{03E48706-ED28-4E40-9B7D-8C36692CE558}" dt="2023-09-20T11:08:00.779" v="3835"/>
          <ac:spMkLst>
            <pc:docMk/>
            <pc:sldMk cId="1543446496" sldId="2147375771"/>
            <ac:spMk id="9" creationId="{576EB7FA-FB65-A299-CFDF-86ED95592D93}"/>
          </ac:spMkLst>
        </pc:spChg>
        <pc:spChg chg="add del mod modVis">
          <ac:chgData name="Jorge Costa" userId="6f0ed375-7d90-4a84-93f2-03ffaae48f30" providerId="ADAL" clId="{03E48706-ED28-4E40-9B7D-8C36692CE558}" dt="2023-09-20T11:08:02.674" v="3890"/>
          <ac:spMkLst>
            <pc:docMk/>
            <pc:sldMk cId="1543446496" sldId="2147375771"/>
            <ac:spMk id="10" creationId="{4EA6636F-F6EA-7E4C-964E-C2272264CE05}"/>
          </ac:spMkLst>
        </pc:spChg>
        <pc:spChg chg="add del mod modVis">
          <ac:chgData name="Jorge Costa" userId="6f0ed375-7d90-4a84-93f2-03ffaae48f30" providerId="ADAL" clId="{03E48706-ED28-4E40-9B7D-8C36692CE558}" dt="2023-09-20T11:08:07.024" v="3943"/>
          <ac:spMkLst>
            <pc:docMk/>
            <pc:sldMk cId="1543446496" sldId="2147375771"/>
            <ac:spMk id="11" creationId="{EEB37160-5F5A-0608-DAEE-762D91EDC66F}"/>
          </ac:spMkLst>
        </pc:spChg>
        <pc:spChg chg="mod">
          <ac:chgData name="Jorge Costa" userId="6f0ed375-7d90-4a84-93f2-03ffaae48f30" providerId="ADAL" clId="{03E48706-ED28-4E40-9B7D-8C36692CE558}" dt="2023-09-20T11:04:00.225" v="3301" actId="14100"/>
          <ac:spMkLst>
            <pc:docMk/>
            <pc:sldMk cId="1543446496" sldId="2147375771"/>
            <ac:spMk id="17" creationId="{76010E48-24D9-073E-79FC-BAE010392198}"/>
          </ac:spMkLst>
        </pc:spChg>
        <pc:spChg chg="mod">
          <ac:chgData name="Jorge Costa" userId="6f0ed375-7d90-4a84-93f2-03ffaae48f30" providerId="ADAL" clId="{03E48706-ED28-4E40-9B7D-8C36692CE558}" dt="2023-09-20T14:16:04.206" v="72888" actId="20577"/>
          <ac:spMkLst>
            <pc:docMk/>
            <pc:sldMk cId="1543446496" sldId="2147375771"/>
            <ac:spMk id="18" creationId="{66D41A5D-D993-0A25-7586-AC33B7AB3322}"/>
          </ac:spMkLst>
        </pc:spChg>
        <pc:spChg chg="del">
          <ac:chgData name="Jorge Costa" userId="6f0ed375-7d90-4a84-93f2-03ffaae48f30" providerId="ADAL" clId="{03E48706-ED28-4E40-9B7D-8C36692CE558}" dt="2023-09-20T14:47:24.065" v="79146" actId="478"/>
          <ac:spMkLst>
            <pc:docMk/>
            <pc:sldMk cId="1543446496" sldId="2147375771"/>
            <ac:spMk id="48" creationId="{2018C1FA-C6C3-34D4-719C-A34F4C663478}"/>
          </ac:spMkLst>
        </pc:spChg>
        <pc:graphicFrameChg chg="mod">
          <ac:chgData name="Jorge Costa" userId="6f0ed375-7d90-4a84-93f2-03ffaae48f30" providerId="ADAL" clId="{03E48706-ED28-4E40-9B7D-8C36692CE558}" dt="2023-09-20T11:08:07.034" v="3945"/>
          <ac:graphicFrameMkLst>
            <pc:docMk/>
            <pc:sldMk cId="1543446496" sldId="2147375771"/>
            <ac:graphicFrameMk id="29" creationId="{E4ADC6FB-C398-8B76-3455-2197FFCD0F2B}"/>
          </ac:graphicFrameMkLst>
        </pc:graphicFrameChg>
        <pc:picChg chg="add del mod">
          <ac:chgData name="Jorge Costa" userId="6f0ed375-7d90-4a84-93f2-03ffaae48f30" providerId="ADAL" clId="{03E48706-ED28-4E40-9B7D-8C36692CE558}" dt="2023-09-20T11:56:16.767" v="4674" actId="478"/>
          <ac:picMkLst>
            <pc:docMk/>
            <pc:sldMk cId="1543446496" sldId="2147375771"/>
            <ac:picMk id="6" creationId="{E67616C4-9733-E6CB-6A9E-37557BF98142}"/>
          </ac:picMkLst>
        </pc:picChg>
        <pc:picChg chg="add mod">
          <ac:chgData name="Jorge Costa" userId="6f0ed375-7d90-4a84-93f2-03ffaae48f30" providerId="ADAL" clId="{03E48706-ED28-4E40-9B7D-8C36692CE558}" dt="2023-09-20T11:56:23.262" v="4676" actId="1076"/>
          <ac:picMkLst>
            <pc:docMk/>
            <pc:sldMk cId="1543446496" sldId="2147375771"/>
            <ac:picMk id="12" creationId="{55B22EF7-5120-6C79-548E-75EA58CD01FD}"/>
          </ac:picMkLst>
        </pc:picChg>
        <pc:picChg chg="del">
          <ac:chgData name="Jorge Costa" userId="6f0ed375-7d90-4a84-93f2-03ffaae48f30" providerId="ADAL" clId="{03E48706-ED28-4E40-9B7D-8C36692CE558}" dt="2023-09-20T11:03:46.735" v="3297" actId="478"/>
          <ac:picMkLst>
            <pc:docMk/>
            <pc:sldMk cId="1543446496" sldId="2147375771"/>
            <ac:picMk id="24" creationId="{E0EE10E0-2716-6979-871B-3924B03D8C88}"/>
          </ac:picMkLst>
        </pc:picChg>
      </pc:sldChg>
      <pc:sldChg chg="addSp delSp modSp add mod ord modTransition modShow">
        <pc:chgData name="Jorge Costa" userId="6f0ed375-7d90-4a84-93f2-03ffaae48f30" providerId="ADAL" clId="{03E48706-ED28-4E40-9B7D-8C36692CE558}" dt="2023-10-04T12:44:58.818" v="101145" actId="5793"/>
        <pc:sldMkLst>
          <pc:docMk/>
          <pc:sldMk cId="1905667050" sldId="2147375772"/>
        </pc:sldMkLst>
        <pc:spChg chg="mod">
          <ac:chgData name="Jorge Costa" userId="6f0ed375-7d90-4a84-93f2-03ffaae48f30" providerId="ADAL" clId="{03E48706-ED28-4E40-9B7D-8C36692CE558}" dt="2023-09-20T12:22:23.431" v="4946" actId="948"/>
          <ac:spMkLst>
            <pc:docMk/>
            <pc:sldMk cId="1905667050" sldId="2147375772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2:22:21.395" v="4934"/>
          <ac:spMkLst>
            <pc:docMk/>
            <pc:sldMk cId="1905667050" sldId="2147375772"/>
            <ac:spMk id="3" creationId="{9125A026-0D7D-C9C2-59DB-8400468DE6F7}"/>
          </ac:spMkLst>
        </pc:spChg>
        <pc:spChg chg="mod">
          <ac:chgData name="Jorge Costa" userId="6f0ed375-7d90-4a84-93f2-03ffaae48f30" providerId="ADAL" clId="{03E48706-ED28-4E40-9B7D-8C36692CE558}" dt="2023-09-20T12:22:30.046" v="5019" actId="6549"/>
          <ac:spMkLst>
            <pc:docMk/>
            <pc:sldMk cId="1905667050" sldId="2147375772"/>
            <ac:spMk id="6" creationId="{842B39BD-4B47-F80C-A3A6-B6F892AF4547}"/>
          </ac:spMkLst>
        </pc:spChg>
        <pc:spChg chg="mod">
          <ac:chgData name="Jorge Costa" userId="6f0ed375-7d90-4a84-93f2-03ffaae48f30" providerId="ADAL" clId="{03E48706-ED28-4E40-9B7D-8C36692CE558}" dt="2023-10-04T12:03:39.675" v="100768" actId="400"/>
          <ac:spMkLst>
            <pc:docMk/>
            <pc:sldMk cId="1905667050" sldId="2147375772"/>
            <ac:spMk id="15" creationId="{3A26E4A3-D678-10E2-82E8-7AEC8D984566}"/>
          </ac:spMkLst>
        </pc:spChg>
        <pc:spChg chg="mod">
          <ac:chgData name="Jorge Costa" userId="6f0ed375-7d90-4a84-93f2-03ffaae48f30" providerId="ADAL" clId="{03E48706-ED28-4E40-9B7D-8C36692CE558}" dt="2023-10-04T12:03:43.594" v="100769" actId="400"/>
          <ac:spMkLst>
            <pc:docMk/>
            <pc:sldMk cId="1905667050" sldId="2147375772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10-04T12:03:57.949" v="100781" actId="400"/>
          <ac:spMkLst>
            <pc:docMk/>
            <pc:sldMk cId="1905667050" sldId="2147375772"/>
            <ac:spMk id="17" creationId="{E5294197-8CE1-1A49-295A-F701A4DA949F}"/>
          </ac:spMkLst>
        </pc:spChg>
        <pc:spChg chg="mod">
          <ac:chgData name="Jorge Costa" userId="6f0ed375-7d90-4a84-93f2-03ffaae48f30" providerId="ADAL" clId="{03E48706-ED28-4E40-9B7D-8C36692CE558}" dt="2023-09-20T12:22:56.297" v="5041" actId="20577"/>
          <ac:spMkLst>
            <pc:docMk/>
            <pc:sldMk cId="1905667050" sldId="2147375772"/>
            <ac:spMk id="23" creationId="{83D9380C-DE2A-8232-139B-E69578E5A070}"/>
          </ac:spMkLst>
        </pc:spChg>
        <pc:spChg chg="mod">
          <ac:chgData name="Jorge Costa" userId="6f0ed375-7d90-4a84-93f2-03ffaae48f30" providerId="ADAL" clId="{03E48706-ED28-4E40-9B7D-8C36692CE558}" dt="2023-09-20T12:22:58.818" v="5044" actId="20577"/>
          <ac:spMkLst>
            <pc:docMk/>
            <pc:sldMk cId="1905667050" sldId="2147375772"/>
            <ac:spMk id="24" creationId="{77638136-DD06-7EEC-287A-4A4E18D28245}"/>
          </ac:spMkLst>
        </pc:spChg>
        <pc:spChg chg="mod">
          <ac:chgData name="Jorge Costa" userId="6f0ed375-7d90-4a84-93f2-03ffaae48f30" providerId="ADAL" clId="{03E48706-ED28-4E40-9B7D-8C36692CE558}" dt="2023-09-20T12:24:37.821" v="5111" actId="6549"/>
          <ac:spMkLst>
            <pc:docMk/>
            <pc:sldMk cId="1905667050" sldId="2147375772"/>
            <ac:spMk id="25" creationId="{111E4B0C-3ED8-AD45-E44C-E26FB945F64F}"/>
          </ac:spMkLst>
        </pc:spChg>
        <pc:spChg chg="add del mod modVis">
          <ac:chgData name="Jorge Costa" userId="6f0ed375-7d90-4a84-93f2-03ffaae48f30" providerId="ADAL" clId="{03E48706-ED28-4E40-9B7D-8C36692CE558}" dt="2023-09-20T12:22:23.462" v="4987"/>
          <ac:spMkLst>
            <pc:docMk/>
            <pc:sldMk cId="1905667050" sldId="2147375772"/>
            <ac:spMk id="35" creationId="{350BF4A9-D1BD-42FC-C1CB-C8883EB21B1B}"/>
          </ac:spMkLst>
        </pc:spChg>
        <pc:spChg chg="add mod">
          <ac:chgData name="Jorge Costa" userId="6f0ed375-7d90-4a84-93f2-03ffaae48f30" providerId="ADAL" clId="{03E48706-ED28-4E40-9B7D-8C36692CE558}" dt="2023-10-04T12:04:04.412" v="100782" actId="400"/>
          <ac:spMkLst>
            <pc:docMk/>
            <pc:sldMk cId="1905667050" sldId="2147375772"/>
            <ac:spMk id="36" creationId="{8E5C5248-6824-44CC-AE52-166B277F73B5}"/>
          </ac:spMkLst>
        </pc:spChg>
        <pc:spChg chg="add mod">
          <ac:chgData name="Jorge Costa" userId="6f0ed375-7d90-4a84-93f2-03ffaae48f30" providerId="ADAL" clId="{03E48706-ED28-4E40-9B7D-8C36692CE558}" dt="2023-09-20T14:47:53.835" v="79148"/>
          <ac:spMkLst>
            <pc:docMk/>
            <pc:sldMk cId="1905667050" sldId="2147375772"/>
            <ac:spMk id="38" creationId="{413F302A-99BC-3D5E-C848-03B4505568E6}"/>
          </ac:spMkLst>
        </pc:spChg>
        <pc:graphicFrameChg chg="mod modGraphic">
          <ac:chgData name="Jorge Costa" userId="6f0ed375-7d90-4a84-93f2-03ffaae48f30" providerId="ADAL" clId="{03E48706-ED28-4E40-9B7D-8C36692CE558}" dt="2023-10-04T12:36:54.229" v="101127"/>
          <ac:graphicFrameMkLst>
            <pc:docMk/>
            <pc:sldMk cId="1905667050" sldId="2147375772"/>
            <ac:graphicFrameMk id="26" creationId="{2760A569-DC07-9D8C-B3C4-91CA8068B663}"/>
          </ac:graphicFrameMkLst>
        </pc:graphicFrameChg>
        <pc:graphicFrameChg chg="del modGraphic">
          <ac:chgData name="Jorge Costa" userId="6f0ed375-7d90-4a84-93f2-03ffaae48f30" providerId="ADAL" clId="{03E48706-ED28-4E40-9B7D-8C36692CE558}" dt="2023-09-20T12:27:57.852" v="5214" actId="478"/>
          <ac:graphicFrameMkLst>
            <pc:docMk/>
            <pc:sldMk cId="1905667050" sldId="2147375772"/>
            <ac:graphicFrameMk id="27" creationId="{5C73C19E-1958-4F0D-0FAE-E8EF316214FC}"/>
          </ac:graphicFrameMkLst>
        </pc:graphicFrameChg>
        <pc:graphicFrameChg chg="mod modGraphic">
          <ac:chgData name="Jorge Costa" userId="6f0ed375-7d90-4a84-93f2-03ffaae48f30" providerId="ADAL" clId="{03E48706-ED28-4E40-9B7D-8C36692CE558}" dt="2023-10-04T12:44:58.818" v="101145" actId="5793"/>
          <ac:graphicFrameMkLst>
            <pc:docMk/>
            <pc:sldMk cId="1905667050" sldId="2147375772"/>
            <ac:graphicFrameMk id="28" creationId="{948DFD97-08A4-2970-45A1-8F5F312B6871}"/>
          </ac:graphicFrameMkLst>
        </pc:graphicFrameChg>
        <pc:graphicFrameChg chg="modGraphic">
          <ac:chgData name="Jorge Costa" userId="6f0ed375-7d90-4a84-93f2-03ffaae48f30" providerId="ADAL" clId="{03E48706-ED28-4E40-9B7D-8C36692CE558}" dt="2023-09-20T12:35:17.682" v="5930" actId="20577"/>
          <ac:graphicFrameMkLst>
            <pc:docMk/>
            <pc:sldMk cId="1905667050" sldId="2147375772"/>
            <ac:graphicFrameMk id="29" creationId="{B6D0FFEF-296C-4FB3-733F-0F32C569BDA2}"/>
          </ac:graphicFrameMkLst>
        </pc:graphicFrameChg>
        <pc:graphicFrameChg chg="mod">
          <ac:chgData name="Jorge Costa" userId="6f0ed375-7d90-4a84-93f2-03ffaae48f30" providerId="ADAL" clId="{03E48706-ED28-4E40-9B7D-8C36692CE558}" dt="2023-09-20T12:22:23.462" v="4989"/>
          <ac:graphicFrameMkLst>
            <pc:docMk/>
            <pc:sldMk cId="1905667050" sldId="2147375772"/>
            <ac:graphicFrameMk id="34" creationId="{77B9DEAE-63DD-8649-4C0C-F877FB731A85}"/>
          </ac:graphicFrameMkLst>
        </pc:graphicFrameChg>
        <pc:graphicFrameChg chg="add mod modGraphic">
          <ac:chgData name="Jorge Costa" userId="6f0ed375-7d90-4a84-93f2-03ffaae48f30" providerId="ADAL" clId="{03E48706-ED28-4E40-9B7D-8C36692CE558}" dt="2023-09-20T12:34:11.958" v="5812" actId="20577"/>
          <ac:graphicFrameMkLst>
            <pc:docMk/>
            <pc:sldMk cId="1905667050" sldId="2147375772"/>
            <ac:graphicFrameMk id="37" creationId="{60F3EE57-0947-7B9A-7611-C81B35BDFEE8}"/>
          </ac:graphicFrameMkLst>
        </pc:graphicFrameChg>
      </pc:sldChg>
      <pc:sldChg chg="add del">
        <pc:chgData name="Jorge Costa" userId="6f0ed375-7d90-4a84-93f2-03ffaae48f30" providerId="ADAL" clId="{03E48706-ED28-4E40-9B7D-8C36692CE558}" dt="2023-09-20T12:19:47.816" v="4866" actId="47"/>
        <pc:sldMkLst>
          <pc:docMk/>
          <pc:sldMk cId="4086140113" sldId="2147375772"/>
        </pc:sldMkLst>
      </pc:sldChg>
      <pc:sldChg chg="addSp delSp modSp add del mod modTransition modClrScheme modShow chgLayout">
        <pc:chgData name="Jorge Costa" userId="6f0ed375-7d90-4a84-93f2-03ffaae48f30" providerId="ADAL" clId="{03E48706-ED28-4E40-9B7D-8C36692CE558}" dt="2023-09-28T06:47:03.945" v="85404" actId="47"/>
        <pc:sldMkLst>
          <pc:docMk/>
          <pc:sldMk cId="2353275714" sldId="2147375773"/>
        </pc:sldMkLst>
        <pc:spChg chg="mod ord">
          <ac:chgData name="Jorge Costa" userId="6f0ed375-7d90-4a84-93f2-03ffaae48f30" providerId="ADAL" clId="{03E48706-ED28-4E40-9B7D-8C36692CE558}" dt="2023-09-20T14:52:04.272" v="85309" actId="948"/>
          <ac:spMkLst>
            <pc:docMk/>
            <pc:sldMk cId="2353275714" sldId="2147375773"/>
            <ac:spMk id="2" creationId="{A1669AA9-9371-B720-CA3A-15BF499E5E61}"/>
          </ac:spMkLst>
        </pc:spChg>
        <pc:spChg chg="del">
          <ac:chgData name="Jorge Costa" userId="6f0ed375-7d90-4a84-93f2-03ffaae48f30" providerId="ADAL" clId="{03E48706-ED28-4E40-9B7D-8C36692CE558}" dt="2023-09-20T12:38:44.913" v="6010" actId="478"/>
          <ac:spMkLst>
            <pc:docMk/>
            <pc:sldMk cId="2353275714" sldId="2147375773"/>
            <ac:spMk id="3" creationId="{F97E2513-5C49-69C9-CF45-28D7D70D154A}"/>
          </ac:spMkLst>
        </pc:spChg>
        <pc:spChg chg="mod ord">
          <ac:chgData name="Jorge Costa" userId="6f0ed375-7d90-4a84-93f2-03ffaae48f30" providerId="ADAL" clId="{03E48706-ED28-4E40-9B7D-8C36692CE558}" dt="2023-09-20T12:43:30.760" v="11955"/>
          <ac:spMkLst>
            <pc:docMk/>
            <pc:sldMk cId="2353275714" sldId="2147375773"/>
            <ac:spMk id="4" creationId="{86B112D9-9E4A-0DDF-DF01-494C86A59AE4}"/>
          </ac:spMkLst>
        </pc:spChg>
        <pc:spChg chg="add del mod modVis">
          <ac:chgData name="Jorge Costa" userId="6f0ed375-7d90-4a84-93f2-03ffaae48f30" providerId="ADAL" clId="{03E48706-ED28-4E40-9B7D-8C36692CE558}" dt="2023-09-20T12:38:37.928" v="6007"/>
          <ac:spMkLst>
            <pc:docMk/>
            <pc:sldMk cId="2353275714" sldId="2147375773"/>
            <ac:spMk id="5" creationId="{0478C982-C60C-8365-0BC1-33763F07F6D7}"/>
          </ac:spMkLst>
        </pc:spChg>
        <pc:spChg chg="add mod ord replST">
          <ac:chgData name="Jorge Costa" userId="6f0ed375-7d90-4a84-93f2-03ffaae48f30" providerId="ADAL" clId="{03E48706-ED28-4E40-9B7D-8C36692CE558}" dt="2023-09-20T12:43:30.760" v="11957"/>
          <ac:spMkLst>
            <pc:docMk/>
            <pc:sldMk cId="2353275714" sldId="2147375773"/>
            <ac:spMk id="7" creationId="{245666E8-02FD-0C74-B44E-7AE3767F444D}"/>
          </ac:spMkLst>
        </pc:spChg>
        <pc:spChg chg="add mod replST">
          <ac:chgData name="Jorge Costa" userId="6f0ed375-7d90-4a84-93f2-03ffaae48f30" providerId="ADAL" clId="{03E48706-ED28-4E40-9B7D-8C36692CE558}" dt="2023-09-20T14:52:04.333" v="85366"/>
          <ac:spMkLst>
            <pc:docMk/>
            <pc:sldMk cId="2353275714" sldId="2147375773"/>
            <ac:spMk id="8" creationId="{832E0ADE-9505-5D0F-B156-BD6693FC8E17}"/>
          </ac:spMkLst>
        </pc:spChg>
        <pc:spChg chg="add mod replST">
          <ac:chgData name="Jorge Costa" userId="6f0ed375-7d90-4a84-93f2-03ffaae48f30" providerId="ADAL" clId="{03E48706-ED28-4E40-9B7D-8C36692CE558}" dt="2023-09-20T14:52:04.333" v="85367"/>
          <ac:spMkLst>
            <pc:docMk/>
            <pc:sldMk cId="2353275714" sldId="2147375773"/>
            <ac:spMk id="9" creationId="{A97F4F57-B717-B7A7-9E96-FC6466097F66}"/>
          </ac:spMkLst>
        </pc:spChg>
        <pc:spChg chg="add mod replST">
          <ac:chgData name="Jorge Costa" userId="6f0ed375-7d90-4a84-93f2-03ffaae48f30" providerId="ADAL" clId="{03E48706-ED28-4E40-9B7D-8C36692CE558}" dt="2023-09-20T14:52:04.333" v="85368"/>
          <ac:spMkLst>
            <pc:docMk/>
            <pc:sldMk cId="2353275714" sldId="2147375773"/>
            <ac:spMk id="10" creationId="{94881DCA-8412-9387-A67E-3E995AB3B33C}"/>
          </ac:spMkLst>
        </pc:spChg>
        <pc:spChg chg="add mod replST">
          <ac:chgData name="Jorge Costa" userId="6f0ed375-7d90-4a84-93f2-03ffaae48f30" providerId="ADAL" clId="{03E48706-ED28-4E40-9B7D-8C36692CE558}" dt="2023-09-20T14:52:04.333" v="85369"/>
          <ac:spMkLst>
            <pc:docMk/>
            <pc:sldMk cId="2353275714" sldId="2147375773"/>
            <ac:spMk id="11" creationId="{F6A90E08-EA67-C973-C3A9-B6BCBC7DCFFC}"/>
          </ac:spMkLst>
        </pc:spChg>
        <pc:spChg chg="add mod replST">
          <ac:chgData name="Jorge Costa" userId="6f0ed375-7d90-4a84-93f2-03ffaae48f30" providerId="ADAL" clId="{03E48706-ED28-4E40-9B7D-8C36692CE558}" dt="2023-09-20T14:52:04.333" v="85370"/>
          <ac:spMkLst>
            <pc:docMk/>
            <pc:sldMk cId="2353275714" sldId="2147375773"/>
            <ac:spMk id="12" creationId="{D048DA88-A0F8-6FE8-6269-9D53ED3B55F8}"/>
          </ac:spMkLst>
        </pc:spChg>
        <pc:spChg chg="add mod replST">
          <ac:chgData name="Jorge Costa" userId="6f0ed375-7d90-4a84-93f2-03ffaae48f30" providerId="ADAL" clId="{03E48706-ED28-4E40-9B7D-8C36692CE558}" dt="2023-09-20T14:52:04.333" v="85371"/>
          <ac:spMkLst>
            <pc:docMk/>
            <pc:sldMk cId="2353275714" sldId="2147375773"/>
            <ac:spMk id="13" creationId="{48FFC757-7EC8-F223-3013-164FA4CF0A3A}"/>
          </ac:spMkLst>
        </pc:spChg>
        <pc:spChg chg="add mod replST">
          <ac:chgData name="Jorge Costa" userId="6f0ed375-7d90-4a84-93f2-03ffaae48f30" providerId="ADAL" clId="{03E48706-ED28-4E40-9B7D-8C36692CE558}" dt="2023-09-20T14:52:04.333" v="85373"/>
          <ac:spMkLst>
            <pc:docMk/>
            <pc:sldMk cId="2353275714" sldId="2147375773"/>
            <ac:spMk id="14" creationId="{E3FE1A85-8F2C-8880-6526-F9E3DFFC37E5}"/>
          </ac:spMkLst>
        </pc:spChg>
        <pc:spChg chg="add mod replST">
          <ac:chgData name="Jorge Costa" userId="6f0ed375-7d90-4a84-93f2-03ffaae48f30" providerId="ADAL" clId="{03E48706-ED28-4E40-9B7D-8C36692CE558}" dt="2023-09-20T14:52:04.333" v="85374"/>
          <ac:spMkLst>
            <pc:docMk/>
            <pc:sldMk cId="2353275714" sldId="2147375773"/>
            <ac:spMk id="15" creationId="{F7F0A6F3-D95B-497E-F355-A2E6FE2F5E05}"/>
          </ac:spMkLst>
        </pc:spChg>
        <pc:spChg chg="add mod replST">
          <ac:chgData name="Jorge Costa" userId="6f0ed375-7d90-4a84-93f2-03ffaae48f30" providerId="ADAL" clId="{03E48706-ED28-4E40-9B7D-8C36692CE558}" dt="2023-09-20T14:52:04.333" v="85375"/>
          <ac:spMkLst>
            <pc:docMk/>
            <pc:sldMk cId="2353275714" sldId="2147375773"/>
            <ac:spMk id="16" creationId="{B202D854-EE6A-1020-17AE-89F7BF9E7CF5}"/>
          </ac:spMkLst>
        </pc:spChg>
        <pc:spChg chg="add mod replST">
          <ac:chgData name="Jorge Costa" userId="6f0ed375-7d90-4a84-93f2-03ffaae48f30" providerId="ADAL" clId="{03E48706-ED28-4E40-9B7D-8C36692CE558}" dt="2023-09-20T14:52:04.333" v="85376"/>
          <ac:spMkLst>
            <pc:docMk/>
            <pc:sldMk cId="2353275714" sldId="2147375773"/>
            <ac:spMk id="17" creationId="{AD639961-5275-8B0E-26E0-3913707989C9}"/>
          </ac:spMkLst>
        </pc:spChg>
        <pc:spChg chg="add mod replST">
          <ac:chgData name="Jorge Costa" userId="6f0ed375-7d90-4a84-93f2-03ffaae48f30" providerId="ADAL" clId="{03E48706-ED28-4E40-9B7D-8C36692CE558}" dt="2023-09-20T14:52:04.333" v="85377"/>
          <ac:spMkLst>
            <pc:docMk/>
            <pc:sldMk cId="2353275714" sldId="2147375773"/>
            <ac:spMk id="18" creationId="{F464795A-315D-0935-4DBA-BB133BE83627}"/>
          </ac:spMkLst>
        </pc:spChg>
        <pc:spChg chg="add mod replST">
          <ac:chgData name="Jorge Costa" userId="6f0ed375-7d90-4a84-93f2-03ffaae48f30" providerId="ADAL" clId="{03E48706-ED28-4E40-9B7D-8C36692CE558}" dt="2023-09-20T14:52:04.333" v="85378"/>
          <ac:spMkLst>
            <pc:docMk/>
            <pc:sldMk cId="2353275714" sldId="2147375773"/>
            <ac:spMk id="19" creationId="{387E8560-ACF0-CED7-6098-1E11BD02C2D3}"/>
          </ac:spMkLst>
        </pc:spChg>
        <pc:spChg chg="add mod replST">
          <ac:chgData name="Jorge Costa" userId="6f0ed375-7d90-4a84-93f2-03ffaae48f30" providerId="ADAL" clId="{03E48706-ED28-4E40-9B7D-8C36692CE558}" dt="2023-09-20T14:52:04.333" v="85379"/>
          <ac:spMkLst>
            <pc:docMk/>
            <pc:sldMk cId="2353275714" sldId="2147375773"/>
            <ac:spMk id="20" creationId="{2C31C18D-601D-8E44-49E3-0F047CA7D993}"/>
          </ac:spMkLst>
        </pc:spChg>
        <pc:spChg chg="add mod replST">
          <ac:chgData name="Jorge Costa" userId="6f0ed375-7d90-4a84-93f2-03ffaae48f30" providerId="ADAL" clId="{03E48706-ED28-4E40-9B7D-8C36692CE558}" dt="2023-09-20T14:52:04.343" v="85380"/>
          <ac:spMkLst>
            <pc:docMk/>
            <pc:sldMk cId="2353275714" sldId="2147375773"/>
            <ac:spMk id="21" creationId="{28352F4C-49B9-737A-A389-FD4D5067825F}"/>
          </ac:spMkLst>
        </pc:spChg>
        <pc:spChg chg="add mod replST">
          <ac:chgData name="Jorge Costa" userId="6f0ed375-7d90-4a84-93f2-03ffaae48f30" providerId="ADAL" clId="{03E48706-ED28-4E40-9B7D-8C36692CE558}" dt="2023-09-20T14:52:04.343" v="85381"/>
          <ac:spMkLst>
            <pc:docMk/>
            <pc:sldMk cId="2353275714" sldId="2147375773"/>
            <ac:spMk id="22" creationId="{0C501449-003D-ABD7-D654-6511EAABAE58}"/>
          </ac:spMkLst>
        </pc:spChg>
        <pc:spChg chg="add mod replST">
          <ac:chgData name="Jorge Costa" userId="6f0ed375-7d90-4a84-93f2-03ffaae48f30" providerId="ADAL" clId="{03E48706-ED28-4E40-9B7D-8C36692CE558}" dt="2023-09-20T14:52:04.344" v="85382"/>
          <ac:spMkLst>
            <pc:docMk/>
            <pc:sldMk cId="2353275714" sldId="2147375773"/>
            <ac:spMk id="23" creationId="{89A1D609-5C19-16AD-C89A-573C94A2E3CC}"/>
          </ac:spMkLst>
        </pc:spChg>
        <pc:spChg chg="add mod replST">
          <ac:chgData name="Jorge Costa" userId="6f0ed375-7d90-4a84-93f2-03ffaae48f30" providerId="ADAL" clId="{03E48706-ED28-4E40-9B7D-8C36692CE558}" dt="2023-09-20T14:52:04.344" v="85383"/>
          <ac:spMkLst>
            <pc:docMk/>
            <pc:sldMk cId="2353275714" sldId="2147375773"/>
            <ac:spMk id="24" creationId="{DD158A05-7D46-2D8E-5314-B3BE2ED2D4D8}"/>
          </ac:spMkLst>
        </pc:spChg>
        <pc:spChg chg="add mod replST">
          <ac:chgData name="Jorge Costa" userId="6f0ed375-7d90-4a84-93f2-03ffaae48f30" providerId="ADAL" clId="{03E48706-ED28-4E40-9B7D-8C36692CE558}" dt="2023-09-20T14:52:04.345" v="85384"/>
          <ac:spMkLst>
            <pc:docMk/>
            <pc:sldMk cId="2353275714" sldId="2147375773"/>
            <ac:spMk id="25" creationId="{B2F36601-03D4-5E88-6403-09E52A36BC3C}"/>
          </ac:spMkLst>
        </pc:spChg>
        <pc:spChg chg="add mod replST">
          <ac:chgData name="Jorge Costa" userId="6f0ed375-7d90-4a84-93f2-03ffaae48f30" providerId="ADAL" clId="{03E48706-ED28-4E40-9B7D-8C36692CE558}" dt="2023-09-20T14:52:04.345" v="85385"/>
          <ac:spMkLst>
            <pc:docMk/>
            <pc:sldMk cId="2353275714" sldId="2147375773"/>
            <ac:spMk id="26" creationId="{FE6341D3-07F5-C81A-6DB1-811B8839DD48}"/>
          </ac:spMkLst>
        </pc:spChg>
        <pc:spChg chg="add mod replST">
          <ac:chgData name="Jorge Costa" userId="6f0ed375-7d90-4a84-93f2-03ffaae48f30" providerId="ADAL" clId="{03E48706-ED28-4E40-9B7D-8C36692CE558}" dt="2023-09-20T14:52:04.345" v="85386"/>
          <ac:spMkLst>
            <pc:docMk/>
            <pc:sldMk cId="2353275714" sldId="2147375773"/>
            <ac:spMk id="27" creationId="{CE7FBC55-BA6A-3E23-2B0A-2F95FC1D07FE}"/>
          </ac:spMkLst>
        </pc:spChg>
        <pc:spChg chg="add mod replST">
          <ac:chgData name="Jorge Costa" userId="6f0ed375-7d90-4a84-93f2-03ffaae48f30" providerId="ADAL" clId="{03E48706-ED28-4E40-9B7D-8C36692CE558}" dt="2023-09-20T14:52:04.345" v="85387"/>
          <ac:spMkLst>
            <pc:docMk/>
            <pc:sldMk cId="2353275714" sldId="2147375773"/>
            <ac:spMk id="28" creationId="{E8C2D3CD-7F33-BFC0-6467-18E2741573FC}"/>
          </ac:spMkLst>
        </pc:spChg>
        <pc:spChg chg="add mod replST">
          <ac:chgData name="Jorge Costa" userId="6f0ed375-7d90-4a84-93f2-03ffaae48f30" providerId="ADAL" clId="{03E48706-ED28-4E40-9B7D-8C36692CE558}" dt="2023-09-20T14:52:04.345" v="85388"/>
          <ac:spMkLst>
            <pc:docMk/>
            <pc:sldMk cId="2353275714" sldId="2147375773"/>
            <ac:spMk id="29" creationId="{3DFFD98F-03C9-1860-B589-54168ED27227}"/>
          </ac:spMkLst>
        </pc:spChg>
        <pc:spChg chg="add mod replST">
          <ac:chgData name="Jorge Costa" userId="6f0ed375-7d90-4a84-93f2-03ffaae48f30" providerId="ADAL" clId="{03E48706-ED28-4E40-9B7D-8C36692CE558}" dt="2023-09-20T14:52:04.345" v="85389"/>
          <ac:spMkLst>
            <pc:docMk/>
            <pc:sldMk cId="2353275714" sldId="2147375773"/>
            <ac:spMk id="30" creationId="{3951AFDB-A7B2-05B8-CD35-0DED2BA054EB}"/>
          </ac:spMkLst>
        </pc:spChg>
        <pc:spChg chg="add mod replST">
          <ac:chgData name="Jorge Costa" userId="6f0ed375-7d90-4a84-93f2-03ffaae48f30" providerId="ADAL" clId="{03E48706-ED28-4E40-9B7D-8C36692CE558}" dt="2023-09-20T14:52:04.345" v="85390"/>
          <ac:spMkLst>
            <pc:docMk/>
            <pc:sldMk cId="2353275714" sldId="2147375773"/>
            <ac:spMk id="31" creationId="{17001F65-AD53-07A5-995D-008817F28E4B}"/>
          </ac:spMkLst>
        </pc:spChg>
        <pc:spChg chg="add mod replST">
          <ac:chgData name="Jorge Costa" userId="6f0ed375-7d90-4a84-93f2-03ffaae48f30" providerId="ADAL" clId="{03E48706-ED28-4E40-9B7D-8C36692CE558}" dt="2023-09-20T14:52:04.345" v="85391"/>
          <ac:spMkLst>
            <pc:docMk/>
            <pc:sldMk cId="2353275714" sldId="2147375773"/>
            <ac:spMk id="32" creationId="{0E034090-A183-CD20-8888-A93414C2CD95}"/>
          </ac:spMkLst>
        </pc:spChg>
        <pc:spChg chg="add mod replST">
          <ac:chgData name="Jorge Costa" userId="6f0ed375-7d90-4a84-93f2-03ffaae48f30" providerId="ADAL" clId="{03E48706-ED28-4E40-9B7D-8C36692CE558}" dt="2023-09-20T14:52:04.345" v="85392"/>
          <ac:spMkLst>
            <pc:docMk/>
            <pc:sldMk cId="2353275714" sldId="2147375773"/>
            <ac:spMk id="33" creationId="{C62DD1D0-CF07-F6EA-824B-0D6B0431F174}"/>
          </ac:spMkLst>
        </pc:spChg>
        <pc:spChg chg="add mod replST">
          <ac:chgData name="Jorge Costa" userId="6f0ed375-7d90-4a84-93f2-03ffaae48f30" providerId="ADAL" clId="{03E48706-ED28-4E40-9B7D-8C36692CE558}" dt="2023-09-20T14:52:04.345" v="85393"/>
          <ac:spMkLst>
            <pc:docMk/>
            <pc:sldMk cId="2353275714" sldId="2147375773"/>
            <ac:spMk id="34" creationId="{9BAF7E39-0F69-636B-F417-D6655A7EF5CC}"/>
          </ac:spMkLst>
        </pc:spChg>
        <pc:spChg chg="add mod replST">
          <ac:chgData name="Jorge Costa" userId="6f0ed375-7d90-4a84-93f2-03ffaae48f30" providerId="ADAL" clId="{03E48706-ED28-4E40-9B7D-8C36692CE558}" dt="2023-09-20T14:52:04.345" v="85394"/>
          <ac:spMkLst>
            <pc:docMk/>
            <pc:sldMk cId="2353275714" sldId="2147375773"/>
            <ac:spMk id="35" creationId="{EEF6EB0C-177E-9BFB-6BFF-0CA68710799F}"/>
          </ac:spMkLst>
        </pc:spChg>
        <pc:spChg chg="add mod replST">
          <ac:chgData name="Jorge Costa" userId="6f0ed375-7d90-4a84-93f2-03ffaae48f30" providerId="ADAL" clId="{03E48706-ED28-4E40-9B7D-8C36692CE558}" dt="2023-09-20T14:52:04.345" v="85395"/>
          <ac:spMkLst>
            <pc:docMk/>
            <pc:sldMk cId="2353275714" sldId="2147375773"/>
            <ac:spMk id="36" creationId="{B5B6D605-349A-6084-9928-1BC09354AC68}"/>
          </ac:spMkLst>
        </pc:spChg>
        <pc:spChg chg="add mod replST">
          <ac:chgData name="Jorge Costa" userId="6f0ed375-7d90-4a84-93f2-03ffaae48f30" providerId="ADAL" clId="{03E48706-ED28-4E40-9B7D-8C36692CE558}" dt="2023-09-20T14:52:04.345" v="85396"/>
          <ac:spMkLst>
            <pc:docMk/>
            <pc:sldMk cId="2353275714" sldId="2147375773"/>
            <ac:spMk id="37" creationId="{A5B8BB60-1706-9635-187B-89B4D443A786}"/>
          </ac:spMkLst>
        </pc:spChg>
        <pc:spChg chg="add mod ord replST">
          <ac:chgData name="Jorge Costa" userId="6f0ed375-7d90-4a84-93f2-03ffaae48f30" providerId="ADAL" clId="{03E48706-ED28-4E40-9B7D-8C36692CE558}" dt="2023-09-20T13:08:48.685" v="34583"/>
          <ac:spMkLst>
            <pc:docMk/>
            <pc:sldMk cId="2353275714" sldId="2147375773"/>
            <ac:spMk id="76" creationId="{24951F3E-9F97-5DBE-B77A-298A28CA4AAD}"/>
          </ac:spMkLst>
        </pc:spChg>
        <pc:spChg chg="add mod ord replST">
          <ac:chgData name="Jorge Costa" userId="6f0ed375-7d90-4a84-93f2-03ffaae48f30" providerId="ADAL" clId="{03E48706-ED28-4E40-9B7D-8C36692CE558}" dt="2023-09-20T12:44:38.760" v="12321"/>
          <ac:spMkLst>
            <pc:docMk/>
            <pc:sldMk cId="2353275714" sldId="2147375773"/>
            <ac:spMk id="77" creationId="{759867DF-7539-B770-CB59-C901C2FA0140}"/>
          </ac:spMkLst>
        </pc:spChg>
        <pc:spChg chg="add mod ord replST">
          <ac:chgData name="Jorge Costa" userId="6f0ed375-7d90-4a84-93f2-03ffaae48f30" providerId="ADAL" clId="{03E48706-ED28-4E40-9B7D-8C36692CE558}" dt="2023-09-20T13:08:48.680" v="34578"/>
          <ac:spMkLst>
            <pc:docMk/>
            <pc:sldMk cId="2353275714" sldId="2147375773"/>
            <ac:spMk id="78" creationId="{EC9AEC77-0EB0-88F4-88B1-98B222F97630}"/>
          </ac:spMkLst>
        </pc:spChg>
        <pc:spChg chg="add mod ord replST">
          <ac:chgData name="Jorge Costa" userId="6f0ed375-7d90-4a84-93f2-03ffaae48f30" providerId="ADAL" clId="{03E48706-ED28-4E40-9B7D-8C36692CE558}" dt="2023-09-20T13:08:48.669" v="34559"/>
          <ac:spMkLst>
            <pc:docMk/>
            <pc:sldMk cId="2353275714" sldId="2147375773"/>
            <ac:spMk id="79" creationId="{A8F45AF6-AE81-B504-2E8B-16324CD7A924}"/>
          </ac:spMkLst>
        </pc:spChg>
        <pc:spChg chg="add mod ord replST">
          <ac:chgData name="Jorge Costa" userId="6f0ed375-7d90-4a84-93f2-03ffaae48f30" providerId="ADAL" clId="{03E48706-ED28-4E40-9B7D-8C36692CE558}" dt="2023-09-20T12:44:38.756" v="12316"/>
          <ac:spMkLst>
            <pc:docMk/>
            <pc:sldMk cId="2353275714" sldId="2147375773"/>
            <ac:spMk id="80" creationId="{E8A70A06-14D6-7576-4E83-7ED88C349FBE}"/>
          </ac:spMkLst>
        </pc:spChg>
        <pc:spChg chg="add mod ord replST">
          <ac:chgData name="Jorge Costa" userId="6f0ed375-7d90-4a84-93f2-03ffaae48f30" providerId="ADAL" clId="{03E48706-ED28-4E40-9B7D-8C36692CE558}" dt="2023-09-20T13:08:48.685" v="34593"/>
          <ac:spMkLst>
            <pc:docMk/>
            <pc:sldMk cId="2353275714" sldId="2147375773"/>
            <ac:spMk id="81" creationId="{574674D3-E63F-3021-4E34-4BF9F77A1A3E}"/>
          </ac:spMkLst>
        </pc:spChg>
        <pc:spChg chg="add mod ord replST">
          <ac:chgData name="Jorge Costa" userId="6f0ed375-7d90-4a84-93f2-03ffaae48f30" providerId="ADAL" clId="{03E48706-ED28-4E40-9B7D-8C36692CE558}" dt="2023-09-20T13:08:48.680" v="34573"/>
          <ac:spMkLst>
            <pc:docMk/>
            <pc:sldMk cId="2353275714" sldId="2147375773"/>
            <ac:spMk id="82" creationId="{DC5C6603-6780-EBA1-0F0C-CA8A1BB20716}"/>
          </ac:spMkLst>
        </pc:spChg>
        <pc:spChg chg="add mod ord replST">
          <ac:chgData name="Jorge Costa" userId="6f0ed375-7d90-4a84-93f2-03ffaae48f30" providerId="ADAL" clId="{03E48706-ED28-4E40-9B7D-8C36692CE558}" dt="2023-09-20T13:08:48.685" v="34588"/>
          <ac:spMkLst>
            <pc:docMk/>
            <pc:sldMk cId="2353275714" sldId="2147375773"/>
            <ac:spMk id="83" creationId="{C43672E4-4B2F-7446-F12B-0ABDB775A9B1}"/>
          </ac:spMkLst>
        </pc:spChg>
        <pc:spChg chg="add mod ord replST">
          <ac:chgData name="Jorge Costa" userId="6f0ed375-7d90-4a84-93f2-03ffaae48f30" providerId="ADAL" clId="{03E48706-ED28-4E40-9B7D-8C36692CE558}" dt="2023-09-20T13:08:48.675" v="34568" actId="207"/>
          <ac:spMkLst>
            <pc:docMk/>
            <pc:sldMk cId="2353275714" sldId="2147375773"/>
            <ac:spMk id="84" creationId="{B1502E28-8F22-CEA5-4D70-E88101056327}"/>
          </ac:spMkLst>
        </pc:spChg>
        <pc:spChg chg="add mod ord replST">
          <ac:chgData name="Jorge Costa" userId="6f0ed375-7d90-4a84-93f2-03ffaae48f30" providerId="ADAL" clId="{03E48706-ED28-4E40-9B7D-8C36692CE558}" dt="2023-09-20T13:08:48.685" v="34598"/>
          <ac:spMkLst>
            <pc:docMk/>
            <pc:sldMk cId="2353275714" sldId="2147375773"/>
            <ac:spMk id="85" creationId="{72177406-905D-B543-3A9D-F800D11CAD0E}"/>
          </ac:spMkLst>
        </pc:spChg>
        <pc:spChg chg="add mod ord replST">
          <ac:chgData name="Jorge Costa" userId="6f0ed375-7d90-4a84-93f2-03ffaae48f30" providerId="ADAL" clId="{03E48706-ED28-4E40-9B7D-8C36692CE558}" dt="2023-09-20T13:08:48.665" v="34549"/>
          <ac:spMkLst>
            <pc:docMk/>
            <pc:sldMk cId="2353275714" sldId="2147375773"/>
            <ac:spMk id="86" creationId="{31C1DE5A-5E92-1425-4749-90BE4EC69EED}"/>
          </ac:spMkLst>
        </pc:spChg>
        <pc:spChg chg="add mod ord replST">
          <ac:chgData name="Jorge Costa" userId="6f0ed375-7d90-4a84-93f2-03ffaae48f30" providerId="ADAL" clId="{03E48706-ED28-4E40-9B7D-8C36692CE558}" dt="2023-09-20T13:08:48.665" v="34544"/>
          <ac:spMkLst>
            <pc:docMk/>
            <pc:sldMk cId="2353275714" sldId="2147375773"/>
            <ac:spMk id="87" creationId="{5E1758D2-C48A-CED3-4B12-7B1F05E7C48F}"/>
          </ac:spMkLst>
        </pc:spChg>
        <pc:spChg chg="add mod ord replST">
          <ac:chgData name="Jorge Costa" userId="6f0ed375-7d90-4a84-93f2-03ffaae48f30" providerId="ADAL" clId="{03E48706-ED28-4E40-9B7D-8C36692CE558}" dt="2023-09-20T13:08:48.669" v="34554"/>
          <ac:spMkLst>
            <pc:docMk/>
            <pc:sldMk cId="2353275714" sldId="2147375773"/>
            <ac:spMk id="88" creationId="{BBBFD8CB-FB4B-7F48-3051-479676BCFA50}"/>
          </ac:spMkLst>
        </pc:spChg>
        <pc:spChg chg="add mod ord replST">
          <ac:chgData name="Jorge Costa" userId="6f0ed375-7d90-4a84-93f2-03ffaae48f30" providerId="ADAL" clId="{03E48706-ED28-4E40-9B7D-8C36692CE558}" dt="2023-09-20T13:08:48.675" v="34564"/>
          <ac:spMkLst>
            <pc:docMk/>
            <pc:sldMk cId="2353275714" sldId="2147375773"/>
            <ac:spMk id="89" creationId="{8004B1A7-CAB5-9024-BF76-127CC7BCA884}"/>
          </ac:spMkLst>
        </pc:spChg>
        <pc:spChg chg="add mod ord replST">
          <ac:chgData name="Jorge Costa" userId="6f0ed375-7d90-4a84-93f2-03ffaae48f30" providerId="ADAL" clId="{03E48706-ED28-4E40-9B7D-8C36692CE558}" dt="2023-09-20T12:44:38.774" v="12350" actId="207"/>
          <ac:spMkLst>
            <pc:docMk/>
            <pc:sldMk cId="2353275714" sldId="2147375773"/>
            <ac:spMk id="90" creationId="{C87E00D8-1032-ADDC-62A3-F67FE42559DB}"/>
          </ac:spMkLst>
        </pc:spChg>
        <pc:spChg chg="add mod ord replST">
          <ac:chgData name="Jorge Costa" userId="6f0ed375-7d90-4a84-93f2-03ffaae48f30" providerId="ADAL" clId="{03E48706-ED28-4E40-9B7D-8C36692CE558}" dt="2023-09-20T12:44:38.780" v="12367" actId="207"/>
          <ac:spMkLst>
            <pc:docMk/>
            <pc:sldMk cId="2353275714" sldId="2147375773"/>
            <ac:spMk id="91" creationId="{0F174C73-F7C3-75E0-B8F2-22F6B14E326B}"/>
          </ac:spMkLst>
        </pc:spChg>
        <pc:spChg chg="add mod ord replST">
          <ac:chgData name="Jorge Costa" userId="6f0ed375-7d90-4a84-93f2-03ffaae48f30" providerId="ADAL" clId="{03E48706-ED28-4E40-9B7D-8C36692CE558}" dt="2023-09-20T12:44:38.749" v="12303" actId="207"/>
          <ac:spMkLst>
            <pc:docMk/>
            <pc:sldMk cId="2353275714" sldId="2147375773"/>
            <ac:spMk id="92" creationId="{D7CFF45C-49EB-F0CB-951B-513801FE172E}"/>
          </ac:spMkLst>
        </pc:spChg>
        <pc:spChg chg="add mod ord replST">
          <ac:chgData name="Jorge Costa" userId="6f0ed375-7d90-4a84-93f2-03ffaae48f30" providerId="ADAL" clId="{03E48706-ED28-4E40-9B7D-8C36692CE558}" dt="2023-09-20T12:44:38.760" v="12325" actId="207"/>
          <ac:spMkLst>
            <pc:docMk/>
            <pc:sldMk cId="2353275714" sldId="2147375773"/>
            <ac:spMk id="93" creationId="{EEB9D741-AF27-7196-568F-116E1C16CD87}"/>
          </ac:spMkLst>
        </pc:spChg>
        <pc:spChg chg="add mod ord replST">
          <ac:chgData name="Jorge Costa" userId="6f0ed375-7d90-4a84-93f2-03ffaae48f30" providerId="ADAL" clId="{03E48706-ED28-4E40-9B7D-8C36692CE558}" dt="2023-09-20T12:44:38.747" v="12299" actId="207"/>
          <ac:spMkLst>
            <pc:docMk/>
            <pc:sldMk cId="2353275714" sldId="2147375773"/>
            <ac:spMk id="94" creationId="{5B010D88-B94B-9A70-AF5E-73B3428B073D}"/>
          </ac:spMkLst>
        </pc:spChg>
        <pc:spChg chg="add mod ord replST">
          <ac:chgData name="Jorge Costa" userId="6f0ed375-7d90-4a84-93f2-03ffaae48f30" providerId="ADAL" clId="{03E48706-ED28-4E40-9B7D-8C36692CE558}" dt="2023-09-20T12:43:30.802" v="12110"/>
          <ac:spMkLst>
            <pc:docMk/>
            <pc:sldMk cId="2353275714" sldId="2147375773"/>
            <ac:spMk id="95" creationId="{D85D6D1E-20A3-D354-A415-551A12F216FC}"/>
          </ac:spMkLst>
        </pc:spChg>
        <pc:spChg chg="add mod ord replST">
          <ac:chgData name="Jorge Costa" userId="6f0ed375-7d90-4a84-93f2-03ffaae48f30" providerId="ADAL" clId="{03E48706-ED28-4E40-9B7D-8C36692CE558}" dt="2023-09-20T12:44:38.780" v="12363" actId="207"/>
          <ac:spMkLst>
            <pc:docMk/>
            <pc:sldMk cId="2353275714" sldId="2147375773"/>
            <ac:spMk id="96" creationId="{5C9AD7AA-4804-4A15-7703-ADE6ED032A46}"/>
          </ac:spMkLst>
        </pc:spChg>
        <pc:spChg chg="add mod ord replST">
          <ac:chgData name="Jorge Costa" userId="6f0ed375-7d90-4a84-93f2-03ffaae48f30" providerId="ADAL" clId="{03E48706-ED28-4E40-9B7D-8C36692CE558}" dt="2023-09-20T12:45:01.771" v="12481"/>
          <ac:spMkLst>
            <pc:docMk/>
            <pc:sldMk cId="2353275714" sldId="2147375773"/>
            <ac:spMk id="97" creationId="{CB079841-C947-728E-9976-E681C6E3EBBE}"/>
          </ac:spMkLst>
        </pc:spChg>
        <pc:spChg chg="add mod ord replST">
          <ac:chgData name="Jorge Costa" userId="6f0ed375-7d90-4a84-93f2-03ffaae48f30" providerId="ADAL" clId="{03E48706-ED28-4E40-9B7D-8C36692CE558}" dt="2023-09-20T12:44:38.794" v="12380"/>
          <ac:spMkLst>
            <pc:docMk/>
            <pc:sldMk cId="2353275714" sldId="2147375773"/>
            <ac:spMk id="98" creationId="{D7C5C6B8-194E-9FA5-66A8-510BA2234F98}"/>
          </ac:spMkLst>
        </pc:spChg>
        <pc:spChg chg="add mod ord replST">
          <ac:chgData name="Jorge Costa" userId="6f0ed375-7d90-4a84-93f2-03ffaae48f30" providerId="ADAL" clId="{03E48706-ED28-4E40-9B7D-8C36692CE558}" dt="2023-09-20T12:44:38.780" v="12359"/>
          <ac:spMkLst>
            <pc:docMk/>
            <pc:sldMk cId="2353275714" sldId="2147375773"/>
            <ac:spMk id="99" creationId="{C27DD4B9-8F9E-D63F-A464-C4761EF453FD}"/>
          </ac:spMkLst>
        </pc:spChg>
        <pc:spChg chg="add mod replST">
          <ac:chgData name="Jorge Costa" userId="6f0ed375-7d90-4a84-93f2-03ffaae48f30" providerId="ADAL" clId="{03E48706-ED28-4E40-9B7D-8C36692CE558}" dt="2023-09-20T12:43:30.802" v="12120"/>
          <ac:spMkLst>
            <pc:docMk/>
            <pc:sldMk cId="2353275714" sldId="2147375773"/>
            <ac:spMk id="100" creationId="{6A2677BD-1119-4491-004B-E520D461F74E}"/>
          </ac:spMkLst>
        </pc:spChg>
        <pc:spChg chg="add mod replST">
          <ac:chgData name="Jorge Costa" userId="6f0ed375-7d90-4a84-93f2-03ffaae48f30" providerId="ADAL" clId="{03E48706-ED28-4E40-9B7D-8C36692CE558}" dt="2023-09-20T12:43:30.802" v="12119"/>
          <ac:spMkLst>
            <pc:docMk/>
            <pc:sldMk cId="2353275714" sldId="2147375773"/>
            <ac:spMk id="101" creationId="{58C58167-67C1-A981-77BA-1AEDD48B7C94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2"/>
          <ac:spMkLst>
            <pc:docMk/>
            <pc:sldMk cId="2353275714" sldId="2147375773"/>
            <ac:spMk id="102" creationId="{57A3B9C6-1CEE-9298-A947-8D93E944C73A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4"/>
          <ac:spMkLst>
            <pc:docMk/>
            <pc:sldMk cId="2353275714" sldId="2147375773"/>
            <ac:spMk id="103" creationId="{B3E03E21-2D27-3131-9305-2E086B933DB0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8"/>
          <ac:spMkLst>
            <pc:docMk/>
            <pc:sldMk cId="2353275714" sldId="2147375773"/>
            <ac:spMk id="105" creationId="{B3AED892-2D40-B531-5E5B-84966311A7B5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0"/>
          <ac:spMkLst>
            <pc:docMk/>
            <pc:sldMk cId="2353275714" sldId="2147375773"/>
            <ac:spMk id="106" creationId="{BF9A870E-AF50-6E3F-2788-F19E6F25C7A4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2"/>
          <ac:spMkLst>
            <pc:docMk/>
            <pc:sldMk cId="2353275714" sldId="2147375773"/>
            <ac:spMk id="107" creationId="{D498AF04-A7A2-06B8-0C1C-9A1F24DA0FC7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4"/>
          <ac:spMkLst>
            <pc:docMk/>
            <pc:sldMk cId="2353275714" sldId="2147375773"/>
            <ac:spMk id="108" creationId="{CB5FED4F-3383-2F5D-C67F-63EECAFF00BC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6"/>
          <ac:spMkLst>
            <pc:docMk/>
            <pc:sldMk cId="2353275714" sldId="2147375773"/>
            <ac:spMk id="109" creationId="{91A0A2DE-067D-11D8-E61D-85B616F1C802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0"/>
          <ac:spMkLst>
            <pc:docMk/>
            <pc:sldMk cId="2353275714" sldId="2147375773"/>
            <ac:spMk id="110" creationId="{D0E1042E-B43A-105E-F291-5C01AF2E68AE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8"/>
          <ac:spMkLst>
            <pc:docMk/>
            <pc:sldMk cId="2353275714" sldId="2147375773"/>
            <ac:spMk id="111" creationId="{5B5281C9-C019-C7D6-BC49-713304DE76AD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0"/>
          <ac:spMkLst>
            <pc:docMk/>
            <pc:sldMk cId="2353275714" sldId="2147375773"/>
            <ac:spMk id="112" creationId="{2697DA24-C9FD-08F2-4BCD-35FD73B0B67D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4"/>
          <ac:spMkLst>
            <pc:docMk/>
            <pc:sldMk cId="2353275714" sldId="2147375773"/>
            <ac:spMk id="113" creationId="{1D84C512-C8A5-2F3D-DC66-F15C7CB8E26C}"/>
          </ac:spMkLst>
        </pc:spChg>
        <pc:spChg chg="add mod ord replST">
          <ac:chgData name="Jorge Costa" userId="6f0ed375-7d90-4a84-93f2-03ffaae48f30" providerId="ADAL" clId="{03E48706-ED28-4E40-9B7D-8C36692CE558}" dt="2023-09-20T12:46:00.230" v="12633" actId="16931"/>
          <ac:spMkLst>
            <pc:docMk/>
            <pc:sldMk cId="2353275714" sldId="2147375773"/>
            <ac:spMk id="114" creationId="{D18BC5E0-1467-E784-C4CA-F4CB1C543DBB}"/>
          </ac:spMkLst>
        </pc:spChg>
        <pc:spChg chg="add mod ord replST">
          <ac:chgData name="Jorge Costa" userId="6f0ed375-7d90-4a84-93f2-03ffaae48f30" providerId="ADAL" clId="{03E48706-ED28-4E40-9B7D-8C36692CE558}" dt="2023-09-20T12:46:05.820" v="12730" actId="16931"/>
          <ac:spMkLst>
            <pc:docMk/>
            <pc:sldMk cId="2353275714" sldId="2147375773"/>
            <ac:spMk id="115" creationId="{1AE70446-B4CE-2D72-0BD7-240EE57C8F21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2"/>
          <ac:spMkLst>
            <pc:docMk/>
            <pc:sldMk cId="2353275714" sldId="2147375773"/>
            <ac:spMk id="116" creationId="{F347976F-2CB3-10E3-4628-BD2574770EA0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6"/>
          <ac:spMkLst>
            <pc:docMk/>
            <pc:sldMk cId="2353275714" sldId="2147375773"/>
            <ac:spMk id="117" creationId="{10863595-3AB8-3F4E-C711-28427DDF8152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2"/>
          <ac:spMkLst>
            <pc:docMk/>
            <pc:sldMk cId="2353275714" sldId="2147375773"/>
            <ac:spMk id="118" creationId="{22DCAE1F-3305-AF8B-3502-37EAFE0290EA}"/>
          </ac:spMkLst>
        </pc:spChg>
        <pc:spChg chg="add mod replST">
          <ac:chgData name="Jorge Costa" userId="6f0ed375-7d90-4a84-93f2-03ffaae48f30" providerId="ADAL" clId="{03E48706-ED28-4E40-9B7D-8C36692CE558}" dt="2023-09-20T14:52:04.283" v="85323"/>
          <ac:spMkLst>
            <pc:docMk/>
            <pc:sldMk cId="2353275714" sldId="2147375773"/>
            <ac:spMk id="124" creationId="{6C6730CE-6C8A-FA2E-4721-9C2209967225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9" actId="948"/>
          <ac:spMkLst>
            <pc:docMk/>
            <pc:sldMk cId="2353275714" sldId="2147375773"/>
            <ac:spMk id="125" creationId="{19698886-28B9-358F-B5E0-27B746C82BAE}"/>
          </ac:spMkLst>
        </pc:spChg>
        <pc:spChg chg="add mod replST">
          <ac:chgData name="Jorge Costa" userId="6f0ed375-7d90-4a84-93f2-03ffaae48f30" providerId="ADAL" clId="{03E48706-ED28-4E40-9B7D-8C36692CE558}" dt="2023-09-20T14:52:04.283" v="85322"/>
          <ac:spMkLst>
            <pc:docMk/>
            <pc:sldMk cId="2353275714" sldId="2147375773"/>
            <ac:spMk id="126" creationId="{738C59B6-7678-5A1B-2E85-98A515305264}"/>
          </ac:spMkLst>
        </pc:spChg>
        <pc:spChg chg="add mod ord replST">
          <ac:chgData name="Jorge Costa" userId="6f0ed375-7d90-4a84-93f2-03ffaae48f30" providerId="ADAL" clId="{03E48706-ED28-4E40-9B7D-8C36692CE558}" dt="2023-09-20T14:52:04.300" v="85345" actId="948"/>
          <ac:spMkLst>
            <pc:docMk/>
            <pc:sldMk cId="2353275714" sldId="2147375773"/>
            <ac:spMk id="127" creationId="{43A5B4E9-1A9C-D91D-4FE2-C56383576718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6" actId="948"/>
          <ac:spMkLst>
            <pc:docMk/>
            <pc:sldMk cId="2353275714" sldId="2147375773"/>
            <ac:spMk id="128" creationId="{7DD8E3B5-EFB3-A991-22BA-5D164AE9CBD1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8" actId="948"/>
          <ac:spMkLst>
            <pc:docMk/>
            <pc:sldMk cId="2353275714" sldId="2147375773"/>
            <ac:spMk id="129" creationId="{A6FD8DDE-9E22-5578-5432-46E8A296902A}"/>
          </ac:spMkLst>
        </pc:spChg>
        <pc:spChg chg="add mod replST">
          <ac:chgData name="Jorge Costa" userId="6f0ed375-7d90-4a84-93f2-03ffaae48f30" providerId="ADAL" clId="{03E48706-ED28-4E40-9B7D-8C36692CE558}" dt="2023-09-20T14:52:04.283" v="85324"/>
          <ac:spMkLst>
            <pc:docMk/>
            <pc:sldMk cId="2353275714" sldId="2147375773"/>
            <ac:spMk id="130" creationId="{4A715BFD-2CAD-217D-62FE-178DD4333817}"/>
          </ac:spMkLst>
        </pc:spChg>
        <pc:spChg chg="add mod replST">
          <ac:chgData name="Jorge Costa" userId="6f0ed375-7d90-4a84-93f2-03ffaae48f30" providerId="ADAL" clId="{03E48706-ED28-4E40-9B7D-8C36692CE558}" dt="2023-09-20T14:52:04.283" v="85325"/>
          <ac:spMkLst>
            <pc:docMk/>
            <pc:sldMk cId="2353275714" sldId="2147375773"/>
            <ac:spMk id="131" creationId="{CC798BAB-2E2F-895E-0067-E110844B9C0F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7" actId="948"/>
          <ac:spMkLst>
            <pc:docMk/>
            <pc:sldMk cId="2353275714" sldId="2147375773"/>
            <ac:spMk id="132" creationId="{6EF28A77-0036-DEEF-5CC4-114A0BE194C3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2" actId="948"/>
          <ac:spMkLst>
            <pc:docMk/>
            <pc:sldMk cId="2353275714" sldId="2147375773"/>
            <ac:spMk id="133" creationId="{8D25B7F6-74C7-8418-3ACC-C26C78E5706D}"/>
          </ac:spMkLst>
        </pc:spChg>
        <pc:spChg chg="add mod replST">
          <ac:chgData name="Jorge Costa" userId="6f0ed375-7d90-4a84-93f2-03ffaae48f30" providerId="ADAL" clId="{03E48706-ED28-4E40-9B7D-8C36692CE558}" dt="2023-09-20T14:52:04.275" v="85310"/>
          <ac:spMkLst>
            <pc:docMk/>
            <pc:sldMk cId="2353275714" sldId="2147375773"/>
            <ac:spMk id="134" creationId="{BA507ADD-9D5D-B91A-6C60-86664E7F2888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1" actId="948"/>
          <ac:spMkLst>
            <pc:docMk/>
            <pc:sldMk cId="2353275714" sldId="2147375773"/>
            <ac:spMk id="135" creationId="{F9039647-D59B-E747-6EC5-ACCB872A93DE}"/>
          </ac:spMkLst>
        </pc:spChg>
        <pc:spChg chg="add mod replST">
          <ac:chgData name="Jorge Costa" userId="6f0ed375-7d90-4a84-93f2-03ffaae48f30" providerId="ADAL" clId="{03E48706-ED28-4E40-9B7D-8C36692CE558}" dt="2023-09-20T14:52:04.283" v="85321"/>
          <ac:spMkLst>
            <pc:docMk/>
            <pc:sldMk cId="2353275714" sldId="2147375773"/>
            <ac:spMk id="136" creationId="{5C5175D3-46A7-2576-2CEB-66AC48A018AE}"/>
          </ac:spMkLst>
        </pc:spChg>
        <pc:spChg chg="add mod replST">
          <ac:chgData name="Jorge Costa" userId="6f0ed375-7d90-4a84-93f2-03ffaae48f30" providerId="ADAL" clId="{03E48706-ED28-4E40-9B7D-8C36692CE558}" dt="2023-09-20T14:52:04.283" v="85326"/>
          <ac:spMkLst>
            <pc:docMk/>
            <pc:sldMk cId="2353275714" sldId="2147375773"/>
            <ac:spMk id="137" creationId="{FD4D0756-ABE1-667E-1BAF-1ED91C6C1FB1}"/>
          </ac:spMkLst>
        </pc:spChg>
        <pc:spChg chg="add mod replST">
          <ac:chgData name="Jorge Costa" userId="6f0ed375-7d90-4a84-93f2-03ffaae48f30" providerId="ADAL" clId="{03E48706-ED28-4E40-9B7D-8C36692CE558}" dt="2023-09-20T14:52:04.283" v="85327"/>
          <ac:spMkLst>
            <pc:docMk/>
            <pc:sldMk cId="2353275714" sldId="2147375773"/>
            <ac:spMk id="138" creationId="{8C780FA9-0134-8146-6C92-216EB8325815}"/>
          </ac:spMkLst>
        </pc:spChg>
        <pc:spChg chg="add mod replST">
          <ac:chgData name="Jorge Costa" userId="6f0ed375-7d90-4a84-93f2-03ffaae48f30" providerId="ADAL" clId="{03E48706-ED28-4E40-9B7D-8C36692CE558}" dt="2023-09-20T14:52:04.283" v="85320"/>
          <ac:spMkLst>
            <pc:docMk/>
            <pc:sldMk cId="2353275714" sldId="2147375773"/>
            <ac:spMk id="139" creationId="{3AC89ABD-49C6-EA4E-B9B5-FB53470440C2}"/>
          </ac:spMkLst>
        </pc:spChg>
        <pc:spChg chg="add mod ord replST">
          <ac:chgData name="Jorge Costa" userId="6f0ed375-7d90-4a84-93f2-03ffaae48f30" providerId="ADAL" clId="{03E48706-ED28-4E40-9B7D-8C36692CE558}" dt="2023-09-20T14:52:04.307" v="85363" actId="948"/>
          <ac:spMkLst>
            <pc:docMk/>
            <pc:sldMk cId="2353275714" sldId="2147375773"/>
            <ac:spMk id="140" creationId="{A54749A8-E351-3ABF-856F-4F56C085586F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3" actId="948"/>
          <ac:spMkLst>
            <pc:docMk/>
            <pc:sldMk cId="2353275714" sldId="2147375773"/>
            <ac:spMk id="141" creationId="{8DFC854E-C047-7CC3-3E74-13BC620FAC09}"/>
          </ac:spMkLst>
        </pc:spChg>
        <pc:spChg chg="add mod replST">
          <ac:chgData name="Jorge Costa" userId="6f0ed375-7d90-4a84-93f2-03ffaae48f30" providerId="ADAL" clId="{03E48706-ED28-4E40-9B7D-8C36692CE558}" dt="2023-09-20T14:52:04.283" v="85328"/>
          <ac:spMkLst>
            <pc:docMk/>
            <pc:sldMk cId="2353275714" sldId="2147375773"/>
            <ac:spMk id="142" creationId="{F6C9D2C1-3BBC-76B8-A239-483B995D2EAB}"/>
          </ac:spMkLst>
        </pc:spChg>
        <pc:spChg chg="add mod replST">
          <ac:chgData name="Jorge Costa" userId="6f0ed375-7d90-4a84-93f2-03ffaae48f30" providerId="ADAL" clId="{03E48706-ED28-4E40-9B7D-8C36692CE558}" dt="2023-09-20T14:52:04.333" v="85365"/>
          <ac:spMkLst>
            <pc:docMk/>
            <pc:sldMk cId="2353275714" sldId="2147375773"/>
            <ac:spMk id="143" creationId="{BC0B9DA0-2056-FBB9-2F75-87406D42E7CA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2" actId="948"/>
          <ac:spMkLst>
            <pc:docMk/>
            <pc:sldMk cId="2353275714" sldId="2147375773"/>
            <ac:spMk id="144" creationId="{80204BE9-B85D-4B4E-AF77-EE14D11B4477}"/>
          </ac:spMkLst>
        </pc:spChg>
        <pc:spChg chg="add mod replST">
          <ac:chgData name="Jorge Costa" userId="6f0ed375-7d90-4a84-93f2-03ffaae48f30" providerId="ADAL" clId="{03E48706-ED28-4E40-9B7D-8C36692CE558}" dt="2023-09-20T14:52:04.283" v="85330"/>
          <ac:spMkLst>
            <pc:docMk/>
            <pc:sldMk cId="2353275714" sldId="2147375773"/>
            <ac:spMk id="145" creationId="{AA192E92-82AF-2BDB-B784-E0EE01EA431E}"/>
          </ac:spMkLst>
        </pc:spChg>
        <pc:spChg chg="add mod replST">
          <ac:chgData name="Jorge Costa" userId="6f0ed375-7d90-4a84-93f2-03ffaae48f30" providerId="ADAL" clId="{03E48706-ED28-4E40-9B7D-8C36692CE558}" dt="2023-09-20T14:52:04.283" v="85331"/>
          <ac:spMkLst>
            <pc:docMk/>
            <pc:sldMk cId="2353275714" sldId="2147375773"/>
            <ac:spMk id="146" creationId="{BE11FADF-F089-21E6-BBDE-DB42BE9ED1AC}"/>
          </ac:spMkLst>
        </pc:spChg>
        <pc:spChg chg="add mod ord replST">
          <ac:chgData name="Jorge Costa" userId="6f0ed375-7d90-4a84-93f2-03ffaae48f30" providerId="ADAL" clId="{03E48706-ED28-4E40-9B7D-8C36692CE558}" dt="2023-09-20T14:52:04.298" v="85341" actId="948"/>
          <ac:spMkLst>
            <pc:docMk/>
            <pc:sldMk cId="2353275714" sldId="2147375773"/>
            <ac:spMk id="147" creationId="{7A3F78B3-4114-251F-83BA-6DFB64A6F725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1" actId="948"/>
          <ac:spMkLst>
            <pc:docMk/>
            <pc:sldMk cId="2353275714" sldId="2147375773"/>
            <ac:spMk id="148" creationId="{7AB7DD00-C303-A015-16F3-99FE744C2C6A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4" actId="948"/>
          <ac:spMkLst>
            <pc:docMk/>
            <pc:sldMk cId="2353275714" sldId="2147375773"/>
            <ac:spMk id="149" creationId="{DFCD7434-521F-63C8-116D-C2768A004327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5" actId="948"/>
          <ac:spMkLst>
            <pc:docMk/>
            <pc:sldMk cId="2353275714" sldId="2147375773"/>
            <ac:spMk id="150" creationId="{8F2490FA-1E32-D10C-CAAD-EBF7684222C6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3" actId="948"/>
          <ac:spMkLst>
            <pc:docMk/>
            <pc:sldMk cId="2353275714" sldId="2147375773"/>
            <ac:spMk id="151" creationId="{8AC2E45D-825C-5261-35A7-85FE6E77FC57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4" actId="948"/>
          <ac:spMkLst>
            <pc:docMk/>
            <pc:sldMk cId="2353275714" sldId="2147375773"/>
            <ac:spMk id="152" creationId="{E96AFBEC-2CA0-231F-C7FD-78B65B10E99C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2" actId="948"/>
          <ac:spMkLst>
            <pc:docMk/>
            <pc:sldMk cId="2353275714" sldId="2147375773"/>
            <ac:spMk id="153" creationId="{59CDA602-4539-4308-25F3-D5C535DCB64C}"/>
          </ac:spMkLst>
        </pc:spChg>
        <pc:spChg chg="add mod replST">
          <ac:chgData name="Jorge Costa" userId="6f0ed375-7d90-4a84-93f2-03ffaae48f30" providerId="ADAL" clId="{03E48706-ED28-4E40-9B7D-8C36692CE558}" dt="2023-09-20T14:52:04.283" v="85319"/>
          <ac:spMkLst>
            <pc:docMk/>
            <pc:sldMk cId="2353275714" sldId="2147375773"/>
            <ac:spMk id="154" creationId="{14128D6C-717F-D2F2-FEDE-A5D181F038D6}"/>
          </ac:spMkLst>
        </pc:spChg>
        <pc:spChg chg="add mod replST">
          <ac:chgData name="Jorge Costa" userId="6f0ed375-7d90-4a84-93f2-03ffaae48f30" providerId="ADAL" clId="{03E48706-ED28-4E40-9B7D-8C36692CE558}" dt="2023-09-20T14:52:04.283" v="85318"/>
          <ac:spMkLst>
            <pc:docMk/>
            <pc:sldMk cId="2353275714" sldId="2147375773"/>
            <ac:spMk id="155" creationId="{96FE900E-FCEC-5E7F-316B-BD69043CC744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9" actId="948"/>
          <ac:spMkLst>
            <pc:docMk/>
            <pc:sldMk cId="2353275714" sldId="2147375773"/>
            <ac:spMk id="156" creationId="{74B262B7-2ED3-984F-6D4E-2C5B5383265C}"/>
          </ac:spMkLst>
        </pc:spChg>
        <pc:spChg chg="add mod ord replST">
          <ac:chgData name="Jorge Costa" userId="6f0ed375-7d90-4a84-93f2-03ffaae48f30" providerId="ADAL" clId="{03E48706-ED28-4E40-9B7D-8C36692CE558}" dt="2023-09-20T14:52:04.301" v="85350" actId="948"/>
          <ac:spMkLst>
            <pc:docMk/>
            <pc:sldMk cId="2353275714" sldId="2147375773"/>
            <ac:spMk id="157" creationId="{7FE6667E-949A-3602-7053-CD983F74422A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9" actId="948"/>
          <ac:spMkLst>
            <pc:docMk/>
            <pc:sldMk cId="2353275714" sldId="2147375773"/>
            <ac:spMk id="158" creationId="{8A81D56A-E2B0-E599-9F7D-D4891CE60E35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8" actId="948"/>
          <ac:spMkLst>
            <pc:docMk/>
            <pc:sldMk cId="2353275714" sldId="2147375773"/>
            <ac:spMk id="159" creationId="{9F3BEAE8-FF8C-3509-57DD-C1C3E98810B8}"/>
          </ac:spMkLst>
        </pc:spChg>
        <pc:spChg chg="add mod replST">
          <ac:chgData name="Jorge Costa" userId="6f0ed375-7d90-4a84-93f2-03ffaae48f30" providerId="ADAL" clId="{03E48706-ED28-4E40-9B7D-8C36692CE558}" dt="2023-09-20T14:52:04.283" v="85317"/>
          <ac:spMkLst>
            <pc:docMk/>
            <pc:sldMk cId="2353275714" sldId="2147375773"/>
            <ac:spMk id="160" creationId="{ADECCA5C-34E6-6E67-723F-2693A325AEF2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7" actId="948"/>
          <ac:spMkLst>
            <pc:docMk/>
            <pc:sldMk cId="2353275714" sldId="2147375773"/>
            <ac:spMk id="161" creationId="{FC06FA82-2695-B524-BD32-641582CE86DC}"/>
          </ac:spMkLst>
        </pc:spChg>
        <pc:spChg chg="add mod replST">
          <ac:chgData name="Jorge Costa" userId="6f0ed375-7d90-4a84-93f2-03ffaae48f30" providerId="ADAL" clId="{03E48706-ED28-4E40-9B7D-8C36692CE558}" dt="2023-09-20T14:52:04.283" v="85316"/>
          <ac:spMkLst>
            <pc:docMk/>
            <pc:sldMk cId="2353275714" sldId="2147375773"/>
            <ac:spMk id="162" creationId="{E96C98CC-35E6-155F-A2BB-395D92252494}"/>
          </ac:spMkLst>
        </pc:spChg>
        <pc:spChg chg="add mod ord replST">
          <ac:chgData name="Jorge Costa" userId="6f0ed375-7d90-4a84-93f2-03ffaae48f30" providerId="ADAL" clId="{03E48706-ED28-4E40-9B7D-8C36692CE558}" dt="2023-09-20T14:52:04.296" v="85336" actId="948"/>
          <ac:spMkLst>
            <pc:docMk/>
            <pc:sldMk cId="2353275714" sldId="2147375773"/>
            <ac:spMk id="163" creationId="{254E10EB-BCA8-8A08-3626-E6483911E90A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8" actId="948"/>
          <ac:spMkLst>
            <pc:docMk/>
            <pc:sldMk cId="2353275714" sldId="2147375773"/>
            <ac:spMk id="164" creationId="{4FF065B4-47A0-6B53-19F7-A3BF3FF671EC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7" actId="948"/>
          <ac:spMkLst>
            <pc:docMk/>
            <pc:sldMk cId="2353275714" sldId="2147375773"/>
            <ac:spMk id="165" creationId="{9BAED334-20DC-73B3-E77A-AEC63E8C2CFA}"/>
          </ac:spMkLst>
        </pc:spChg>
        <pc:spChg chg="add mod ord replST">
          <ac:chgData name="Jorge Costa" userId="6f0ed375-7d90-4a84-93f2-03ffaae48f30" providerId="ADAL" clId="{03E48706-ED28-4E40-9B7D-8C36692CE558}" dt="2023-09-20T14:52:04.296" v="85335" actId="948"/>
          <ac:spMkLst>
            <pc:docMk/>
            <pc:sldMk cId="2353275714" sldId="2147375773"/>
            <ac:spMk id="166" creationId="{D62BE5C2-BE81-0EA9-A848-F3A15287E667}"/>
          </ac:spMkLst>
        </pc:spChg>
        <pc:spChg chg="add mod replST">
          <ac:chgData name="Jorge Costa" userId="6f0ed375-7d90-4a84-93f2-03ffaae48f30" providerId="ADAL" clId="{03E48706-ED28-4E40-9B7D-8C36692CE558}" dt="2023-09-20T14:52:04.279" v="85311"/>
          <ac:spMkLst>
            <pc:docMk/>
            <pc:sldMk cId="2353275714" sldId="2147375773"/>
            <ac:spMk id="167" creationId="{31571ABA-0D24-4145-3997-27D4A068BFFD}"/>
          </ac:spMkLst>
        </pc:spChg>
        <pc:spChg chg="add mod replST">
          <ac:chgData name="Jorge Costa" userId="6f0ed375-7d90-4a84-93f2-03ffaae48f30" providerId="ADAL" clId="{03E48706-ED28-4E40-9B7D-8C36692CE558}" dt="2023-09-20T14:52:04.279" v="85315"/>
          <ac:spMkLst>
            <pc:docMk/>
            <pc:sldMk cId="2353275714" sldId="2147375773"/>
            <ac:spMk id="168" creationId="{4748057F-0C0B-F1F8-88A7-91DA9C5AF497}"/>
          </ac:spMkLst>
        </pc:spChg>
        <pc:spChg chg="add mod ord replST">
          <ac:chgData name="Jorge Costa" userId="6f0ed375-7d90-4a84-93f2-03ffaae48f30" providerId="ADAL" clId="{03E48706-ED28-4E40-9B7D-8C36692CE558}" dt="2023-09-20T14:52:04.295" v="85334" actId="948"/>
          <ac:spMkLst>
            <pc:docMk/>
            <pc:sldMk cId="2353275714" sldId="2147375773"/>
            <ac:spMk id="169" creationId="{3CD5CEB9-051A-624A-F0AC-E92BB467E290}"/>
          </ac:spMkLst>
        </pc:spChg>
        <pc:spChg chg="add mod replST">
          <ac:chgData name="Jorge Costa" userId="6f0ed375-7d90-4a84-93f2-03ffaae48f30" providerId="ADAL" clId="{03E48706-ED28-4E40-9B7D-8C36692CE558}" dt="2023-09-20T14:52:04.279" v="85314"/>
          <ac:spMkLst>
            <pc:docMk/>
            <pc:sldMk cId="2353275714" sldId="2147375773"/>
            <ac:spMk id="170" creationId="{4240C9BD-DD2D-3CA5-8728-54621356617B}"/>
          </ac:spMkLst>
        </pc:spChg>
        <pc:spChg chg="add mod ord replST">
          <ac:chgData name="Jorge Costa" userId="6f0ed375-7d90-4a84-93f2-03ffaae48f30" providerId="ADAL" clId="{03E48706-ED28-4E40-9B7D-8C36692CE558}" dt="2023-09-20T14:52:04.300" v="85346" actId="948"/>
          <ac:spMkLst>
            <pc:docMk/>
            <pc:sldMk cId="2353275714" sldId="2147375773"/>
            <ac:spMk id="171" creationId="{0C030169-15B2-913D-AA34-B1500FDC28DD}"/>
          </ac:spMkLst>
        </pc:spChg>
        <pc:spChg chg="add mod ord replST">
          <ac:chgData name="Jorge Costa" userId="6f0ed375-7d90-4a84-93f2-03ffaae48f30" providerId="ADAL" clId="{03E48706-ED28-4E40-9B7D-8C36692CE558}" dt="2023-09-20T14:52:04.295" v="85333" actId="948"/>
          <ac:spMkLst>
            <pc:docMk/>
            <pc:sldMk cId="2353275714" sldId="2147375773"/>
            <ac:spMk id="172" creationId="{7A663BAD-99A8-6A3C-A68C-D50D372C9523}"/>
          </ac:spMkLst>
        </pc:spChg>
        <pc:spChg chg="add mod ord replST">
          <ac:chgData name="Jorge Costa" userId="6f0ed375-7d90-4a84-93f2-03ffaae48f30" providerId="ADAL" clId="{03E48706-ED28-4E40-9B7D-8C36692CE558}" dt="2023-09-20T14:52:04.298" v="85340" actId="948"/>
          <ac:spMkLst>
            <pc:docMk/>
            <pc:sldMk cId="2353275714" sldId="2147375773"/>
            <ac:spMk id="173" creationId="{610A7675-3824-9029-75FF-1E454E18D7D8}"/>
          </ac:spMkLst>
        </pc:spChg>
        <pc:spChg chg="add mod replST">
          <ac:chgData name="Jorge Costa" userId="6f0ed375-7d90-4a84-93f2-03ffaae48f30" providerId="ADAL" clId="{03E48706-ED28-4E40-9B7D-8C36692CE558}" dt="2023-09-20T14:52:04.283" v="85332"/>
          <ac:spMkLst>
            <pc:docMk/>
            <pc:sldMk cId="2353275714" sldId="2147375773"/>
            <ac:spMk id="174" creationId="{257A72B1-B43D-7CCE-D605-973A834ED004}"/>
          </ac:spMkLst>
        </pc:spChg>
        <pc:spChg chg="add mod replST">
          <ac:chgData name="Jorge Costa" userId="6f0ed375-7d90-4a84-93f2-03ffaae48f30" providerId="ADAL" clId="{03E48706-ED28-4E40-9B7D-8C36692CE558}" dt="2023-09-20T14:52:04.279" v="85313"/>
          <ac:spMkLst>
            <pc:docMk/>
            <pc:sldMk cId="2353275714" sldId="2147375773"/>
            <ac:spMk id="175" creationId="{6135BD5F-1956-A767-CC96-C4DA2DD15887}"/>
          </ac:spMkLst>
        </pc:spChg>
        <pc:spChg chg="add mod replST">
          <ac:chgData name="Jorge Costa" userId="6f0ed375-7d90-4a84-93f2-03ffaae48f30" providerId="ADAL" clId="{03E48706-ED28-4E40-9B7D-8C36692CE558}" dt="2023-09-20T14:52:04.279" v="85312"/>
          <ac:spMkLst>
            <pc:docMk/>
            <pc:sldMk cId="2353275714" sldId="2147375773"/>
            <ac:spMk id="176" creationId="{04DB6562-B7D8-9BF5-16A5-49E4922F53EE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0" actId="948"/>
          <ac:spMkLst>
            <pc:docMk/>
            <pc:sldMk cId="2353275714" sldId="2147375773"/>
            <ac:spMk id="177" creationId="{70BE88DB-3441-31B7-B0D0-2A211562DC40}"/>
          </ac:spMkLst>
        </pc:spChg>
        <pc:spChg chg="add mod ord">
          <ac:chgData name="Jorge Costa" userId="6f0ed375-7d90-4a84-93f2-03ffaae48f30" providerId="ADAL" clId="{03E48706-ED28-4E40-9B7D-8C36692CE558}" dt="2023-09-20T12:43:30.841" v="12251"/>
          <ac:spMkLst>
            <pc:docMk/>
            <pc:sldMk cId="2353275714" sldId="2147375773"/>
            <ac:spMk id="178" creationId="{02E93DB0-1829-8F55-E4C6-9B3E32D8F074}"/>
          </ac:spMkLst>
        </pc:spChg>
        <pc:spChg chg="add mod ord">
          <ac:chgData name="Jorge Costa" userId="6f0ed375-7d90-4a84-93f2-03ffaae48f30" providerId="ADAL" clId="{03E48706-ED28-4E40-9B7D-8C36692CE558}" dt="2023-09-20T12:43:30.841" v="12253"/>
          <ac:spMkLst>
            <pc:docMk/>
            <pc:sldMk cId="2353275714" sldId="2147375773"/>
            <ac:spMk id="179" creationId="{57124E7A-077E-56CA-A159-962ACEC96230}"/>
          </ac:spMkLst>
        </pc:spChg>
        <pc:spChg chg="add mod ord">
          <ac:chgData name="Jorge Costa" userId="6f0ed375-7d90-4a84-93f2-03ffaae48f30" providerId="ADAL" clId="{03E48706-ED28-4E40-9B7D-8C36692CE558}" dt="2023-09-20T12:43:30.841" v="12255"/>
          <ac:spMkLst>
            <pc:docMk/>
            <pc:sldMk cId="2353275714" sldId="2147375773"/>
            <ac:spMk id="180" creationId="{93122604-BC10-4A4C-9E24-2940B7629D74}"/>
          </ac:spMkLst>
        </pc:spChg>
        <pc:spChg chg="add mod ord">
          <ac:chgData name="Jorge Costa" userId="6f0ed375-7d90-4a84-93f2-03ffaae48f30" providerId="ADAL" clId="{03E48706-ED28-4E40-9B7D-8C36692CE558}" dt="2023-09-20T12:43:30.841" v="12257"/>
          <ac:spMkLst>
            <pc:docMk/>
            <pc:sldMk cId="2353275714" sldId="2147375773"/>
            <ac:spMk id="181" creationId="{50B51311-DFFD-42A2-639B-5D130373991A}"/>
          </ac:spMkLst>
        </pc:spChg>
        <pc:spChg chg="add mod ord">
          <ac:chgData name="Jorge Costa" userId="6f0ed375-7d90-4a84-93f2-03ffaae48f30" providerId="ADAL" clId="{03E48706-ED28-4E40-9B7D-8C36692CE558}" dt="2023-09-20T12:43:30.841" v="12259"/>
          <ac:spMkLst>
            <pc:docMk/>
            <pc:sldMk cId="2353275714" sldId="2147375773"/>
            <ac:spMk id="182" creationId="{AED957AA-EBE5-29F6-5CE4-0E1423919956}"/>
          </ac:spMkLst>
        </pc:spChg>
        <pc:spChg chg="add mod ord">
          <ac:chgData name="Jorge Costa" userId="6f0ed375-7d90-4a84-93f2-03ffaae48f30" providerId="ADAL" clId="{03E48706-ED28-4E40-9B7D-8C36692CE558}" dt="2023-09-20T12:43:30.841" v="12261"/>
          <ac:spMkLst>
            <pc:docMk/>
            <pc:sldMk cId="2353275714" sldId="2147375773"/>
            <ac:spMk id="183" creationId="{CBF7097B-2A59-9514-9799-5EF1FE7D33A7}"/>
          </ac:spMkLst>
        </pc:spChg>
        <pc:spChg chg="add mod ord">
          <ac:chgData name="Jorge Costa" userId="6f0ed375-7d90-4a84-93f2-03ffaae48f30" providerId="ADAL" clId="{03E48706-ED28-4E40-9B7D-8C36692CE558}" dt="2023-09-20T12:46:45.452" v="12772" actId="208"/>
          <ac:spMkLst>
            <pc:docMk/>
            <pc:sldMk cId="2353275714" sldId="2147375773"/>
            <ac:spMk id="184" creationId="{4CB33E43-2961-48B6-FF22-5EE04C697D53}"/>
          </ac:spMkLst>
        </pc:spChg>
        <pc:spChg chg="add mod ord">
          <ac:chgData name="Jorge Costa" userId="6f0ed375-7d90-4a84-93f2-03ffaae48f30" providerId="ADAL" clId="{03E48706-ED28-4E40-9B7D-8C36692CE558}" dt="2023-09-20T12:43:30.841" v="12265"/>
          <ac:spMkLst>
            <pc:docMk/>
            <pc:sldMk cId="2353275714" sldId="2147375773"/>
            <ac:spMk id="185" creationId="{082A4A55-6238-79FF-34BA-3B062355C4CB}"/>
          </ac:spMkLst>
        </pc:spChg>
        <pc:spChg chg="add mod ord">
          <ac:chgData name="Jorge Costa" userId="6f0ed375-7d90-4a84-93f2-03ffaae48f30" providerId="ADAL" clId="{03E48706-ED28-4E40-9B7D-8C36692CE558}" dt="2023-09-20T12:43:30.841" v="12267"/>
          <ac:spMkLst>
            <pc:docMk/>
            <pc:sldMk cId="2353275714" sldId="2147375773"/>
            <ac:spMk id="186" creationId="{574E121B-0F1D-E231-CEF6-49CCF670BCBE}"/>
          </ac:spMkLst>
        </pc:spChg>
        <pc:spChg chg="add mod ord">
          <ac:chgData name="Jorge Costa" userId="6f0ed375-7d90-4a84-93f2-03ffaae48f30" providerId="ADAL" clId="{03E48706-ED28-4E40-9B7D-8C36692CE558}" dt="2023-09-20T12:43:30.841" v="12269"/>
          <ac:spMkLst>
            <pc:docMk/>
            <pc:sldMk cId="2353275714" sldId="2147375773"/>
            <ac:spMk id="187" creationId="{16BDAEAE-D8DC-4D57-1629-21B90253F6C2}"/>
          </ac:spMkLst>
        </pc:spChg>
        <pc:spChg chg="add mod ord">
          <ac:chgData name="Jorge Costa" userId="6f0ed375-7d90-4a84-93f2-03ffaae48f30" providerId="ADAL" clId="{03E48706-ED28-4E40-9B7D-8C36692CE558}" dt="2023-09-20T12:43:30.841" v="12271"/>
          <ac:spMkLst>
            <pc:docMk/>
            <pc:sldMk cId="2353275714" sldId="2147375773"/>
            <ac:spMk id="188" creationId="{E48AC5B8-CEC3-5AFB-DF82-802AA0E82062}"/>
          </ac:spMkLst>
        </pc:spChg>
        <pc:spChg chg="add mod ord">
          <ac:chgData name="Jorge Costa" userId="6f0ed375-7d90-4a84-93f2-03ffaae48f30" providerId="ADAL" clId="{03E48706-ED28-4E40-9B7D-8C36692CE558}" dt="2023-09-20T12:43:30.841" v="12273"/>
          <ac:spMkLst>
            <pc:docMk/>
            <pc:sldMk cId="2353275714" sldId="2147375773"/>
            <ac:spMk id="189" creationId="{D52E4797-4B09-7463-D8EB-AA654DD393B7}"/>
          </ac:spMkLst>
        </pc:spChg>
        <pc:spChg chg="add mod ord">
          <ac:chgData name="Jorge Costa" userId="6f0ed375-7d90-4a84-93f2-03ffaae48f30" providerId="ADAL" clId="{03E48706-ED28-4E40-9B7D-8C36692CE558}" dt="2023-09-20T12:43:30.841" v="12275"/>
          <ac:spMkLst>
            <pc:docMk/>
            <pc:sldMk cId="2353275714" sldId="2147375773"/>
            <ac:spMk id="190" creationId="{7F991285-7C60-907E-42E9-96C72670AE63}"/>
          </ac:spMkLst>
        </pc:spChg>
        <pc:spChg chg="add mod ord">
          <ac:chgData name="Jorge Costa" userId="6f0ed375-7d90-4a84-93f2-03ffaae48f30" providerId="ADAL" clId="{03E48706-ED28-4E40-9B7D-8C36692CE558}" dt="2023-09-20T12:43:30.841" v="12277"/>
          <ac:spMkLst>
            <pc:docMk/>
            <pc:sldMk cId="2353275714" sldId="2147375773"/>
            <ac:spMk id="191" creationId="{91809D6B-AE80-CA50-B0E1-F83AF89DF3F5}"/>
          </ac:spMkLst>
        </pc:spChg>
        <pc:spChg chg="add mod ord">
          <ac:chgData name="Jorge Costa" userId="6f0ed375-7d90-4a84-93f2-03ffaae48f30" providerId="ADAL" clId="{03E48706-ED28-4E40-9B7D-8C36692CE558}" dt="2023-09-20T12:43:30.841" v="12279"/>
          <ac:spMkLst>
            <pc:docMk/>
            <pc:sldMk cId="2353275714" sldId="2147375773"/>
            <ac:spMk id="192" creationId="{0238D74E-DCE0-1DBE-F7E4-ABE1FCA46D6A}"/>
          </ac:spMkLst>
        </pc:spChg>
        <pc:spChg chg="add mod ord">
          <ac:chgData name="Jorge Costa" userId="6f0ed375-7d90-4a84-93f2-03ffaae48f30" providerId="ADAL" clId="{03E48706-ED28-4E40-9B7D-8C36692CE558}" dt="2023-09-20T12:43:30.841" v="12281"/>
          <ac:spMkLst>
            <pc:docMk/>
            <pc:sldMk cId="2353275714" sldId="2147375773"/>
            <ac:spMk id="193" creationId="{58FBB731-B830-EFEA-2DDE-62475EE9125E}"/>
          </ac:spMkLst>
        </pc:spChg>
        <pc:spChg chg="add mod ord">
          <ac:chgData name="Jorge Costa" userId="6f0ed375-7d90-4a84-93f2-03ffaae48f30" providerId="ADAL" clId="{03E48706-ED28-4E40-9B7D-8C36692CE558}" dt="2023-09-20T12:43:30.841" v="12283"/>
          <ac:spMkLst>
            <pc:docMk/>
            <pc:sldMk cId="2353275714" sldId="2147375773"/>
            <ac:spMk id="194" creationId="{922E7BB2-5697-D39B-C045-C74D527AA4D9}"/>
          </ac:spMkLst>
        </pc:spChg>
        <pc:spChg chg="add mod ord">
          <ac:chgData name="Jorge Costa" userId="6f0ed375-7d90-4a84-93f2-03ffaae48f30" providerId="ADAL" clId="{03E48706-ED28-4E40-9B7D-8C36692CE558}" dt="2023-09-20T12:43:30.850" v="12285"/>
          <ac:spMkLst>
            <pc:docMk/>
            <pc:sldMk cId="2353275714" sldId="2147375773"/>
            <ac:spMk id="195" creationId="{F131440F-02C5-68E7-D763-68D844A9F18E}"/>
          </ac:spMkLst>
        </pc:spChg>
        <pc:spChg chg="add del mod modVis">
          <ac:chgData name="Jorge Costa" userId="6f0ed375-7d90-4a84-93f2-03ffaae48f30" providerId="ADAL" clId="{03E48706-ED28-4E40-9B7D-8C36692CE558}" dt="2023-09-20T12:39:07.427" v="8121"/>
          <ac:spMkLst>
            <pc:docMk/>
            <pc:sldMk cId="2353275714" sldId="2147375773"/>
            <ac:spMk id="196" creationId="{6A693B75-F373-7CD5-A73E-17C465E50E87}"/>
          </ac:spMkLst>
        </pc:spChg>
        <pc:spChg chg="add del mod ord">
          <ac:chgData name="Jorge Costa" userId="6f0ed375-7d90-4a84-93f2-03ffaae48f30" providerId="ADAL" clId="{03E48706-ED28-4E40-9B7D-8C36692CE558}" dt="2023-09-20T12:39:49.411" v="8142" actId="700"/>
          <ac:spMkLst>
            <pc:docMk/>
            <pc:sldMk cId="2353275714" sldId="2147375773"/>
            <ac:spMk id="197" creationId="{D06A64D4-BD3C-5756-A9F2-3E1C63D70D4D}"/>
          </ac:spMkLst>
        </pc:spChg>
        <pc:spChg chg="add del mod modVis">
          <ac:chgData name="Jorge Costa" userId="6f0ed375-7d90-4a84-93f2-03ffaae48f30" providerId="ADAL" clId="{03E48706-ED28-4E40-9B7D-8C36692CE558}" dt="2023-09-20T12:40:12.113" v="8525" actId="962"/>
          <ac:spMkLst>
            <pc:docMk/>
            <pc:sldMk cId="2353275714" sldId="2147375773"/>
            <ac:spMk id="198" creationId="{BB560214-B801-B6CC-EF43-3EFB087860EA}"/>
          </ac:spMkLst>
        </pc:spChg>
        <pc:spChg chg="add del mod modVis">
          <ac:chgData name="Jorge Costa" userId="6f0ed375-7d90-4a84-93f2-03ffaae48f30" providerId="ADAL" clId="{03E48706-ED28-4E40-9B7D-8C36692CE558}" dt="2023-09-20T12:40:19.943" v="8757"/>
          <ac:spMkLst>
            <pc:docMk/>
            <pc:sldMk cId="2353275714" sldId="2147375773"/>
            <ac:spMk id="199" creationId="{2FCEC04E-E8E6-40F4-01C1-998B651C5478}"/>
          </ac:spMkLst>
        </pc:spChg>
        <pc:spChg chg="add mod replST">
          <ac:chgData name="Jorge Costa" userId="6f0ed375-7d90-4a84-93f2-03ffaae48f30" providerId="ADAL" clId="{03E48706-ED28-4E40-9B7D-8C36692CE558}" dt="2023-09-20T14:52:04.345" v="85397"/>
          <ac:spMkLst>
            <pc:docMk/>
            <pc:sldMk cId="2353275714" sldId="2147375773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2:43:30.851" v="12289"/>
          <ac:spMkLst>
            <pc:docMk/>
            <pc:sldMk cId="2353275714" sldId="2147375773"/>
            <ac:spMk id="201" creationId="{B9CC7337-13AB-1420-1127-AC122D4344E3}"/>
          </ac:spMkLst>
        </pc:spChg>
        <pc:spChg chg="add mod replST">
          <ac:chgData name="Jorge Costa" userId="6f0ed375-7d90-4a84-93f2-03ffaae48f30" providerId="ADAL" clId="{03E48706-ED28-4E40-9B7D-8C36692CE558}" dt="2023-09-20T14:52:04.345" v="85398"/>
          <ac:spMkLst>
            <pc:docMk/>
            <pc:sldMk cId="2353275714" sldId="2147375773"/>
            <ac:spMk id="202" creationId="{4988A60A-1757-98EB-D487-0DA0CC9344D3}"/>
          </ac:spMkLst>
        </pc:spChg>
        <pc:spChg chg="add mod replST">
          <ac:chgData name="Jorge Costa" userId="6f0ed375-7d90-4a84-93f2-03ffaae48f30" providerId="ADAL" clId="{03E48706-ED28-4E40-9B7D-8C36692CE558}" dt="2023-09-20T14:52:04.333" v="85372"/>
          <ac:spMkLst>
            <pc:docMk/>
            <pc:sldMk cId="2353275714" sldId="2147375773"/>
            <ac:spMk id="203" creationId="{518E449A-4EFB-B24D-8000-A69686CD8650}"/>
          </ac:spMkLst>
        </pc:spChg>
        <pc:spChg chg="add del mod modVis">
          <ac:chgData name="Jorge Costa" userId="6f0ed375-7d90-4a84-93f2-03ffaae48f30" providerId="ADAL" clId="{03E48706-ED28-4E40-9B7D-8C36692CE558}" dt="2023-09-20T12:47:03.130" v="12817"/>
          <ac:spMkLst>
            <pc:docMk/>
            <pc:sldMk cId="2353275714" sldId="2147375773"/>
            <ac:spMk id="206" creationId="{F7B04A25-2B85-71E3-45A5-7DFC0C083DCD}"/>
          </ac:spMkLst>
        </pc:spChg>
        <pc:spChg chg="add del mod modVis">
          <ac:chgData name="Jorge Costa" userId="6f0ed375-7d90-4a84-93f2-03ffaae48f30" providerId="ADAL" clId="{03E48706-ED28-4E40-9B7D-8C36692CE558}" dt="2023-09-20T12:47:04.105" v="12866"/>
          <ac:spMkLst>
            <pc:docMk/>
            <pc:sldMk cId="2353275714" sldId="2147375773"/>
            <ac:spMk id="207" creationId="{A2A8F214-D676-21AB-CA80-75CF4B8CBE93}"/>
          </ac:spMkLst>
        </pc:spChg>
        <pc:spChg chg="add del mod modVis">
          <ac:chgData name="Jorge Costa" userId="6f0ed375-7d90-4a84-93f2-03ffaae48f30" providerId="ADAL" clId="{03E48706-ED28-4E40-9B7D-8C36692CE558}" dt="2023-09-20T12:47:08.061" v="12914"/>
          <ac:spMkLst>
            <pc:docMk/>
            <pc:sldMk cId="2353275714" sldId="2147375773"/>
            <ac:spMk id="208" creationId="{3679B0B7-E5ED-19BC-837E-BC2CB4E95299}"/>
          </ac:spMkLst>
        </pc:spChg>
        <pc:spChg chg="add del mod modVis">
          <ac:chgData name="Jorge Costa" userId="6f0ed375-7d90-4a84-93f2-03ffaae48f30" providerId="ADAL" clId="{03E48706-ED28-4E40-9B7D-8C36692CE558}" dt="2023-09-20T12:47:11.244" v="12966"/>
          <ac:spMkLst>
            <pc:docMk/>
            <pc:sldMk cId="2353275714" sldId="2147375773"/>
            <ac:spMk id="209" creationId="{283309C6-6666-4B58-E310-ACF70A2C59DF}"/>
          </ac:spMkLst>
        </pc:spChg>
        <pc:spChg chg="add del mod modVis">
          <ac:chgData name="Jorge Costa" userId="6f0ed375-7d90-4a84-93f2-03ffaae48f30" providerId="ADAL" clId="{03E48706-ED28-4E40-9B7D-8C36692CE558}" dt="2023-09-20T12:47:12.300" v="13016"/>
          <ac:spMkLst>
            <pc:docMk/>
            <pc:sldMk cId="2353275714" sldId="2147375773"/>
            <ac:spMk id="210" creationId="{770CDA27-25E2-EF65-AE1C-836279B47E21}"/>
          </ac:spMkLst>
        </pc:spChg>
        <pc:spChg chg="add del mod modVis">
          <ac:chgData name="Jorge Costa" userId="6f0ed375-7d90-4a84-93f2-03ffaae48f30" providerId="ADAL" clId="{03E48706-ED28-4E40-9B7D-8C36692CE558}" dt="2023-09-20T12:47:14.490" v="13061"/>
          <ac:spMkLst>
            <pc:docMk/>
            <pc:sldMk cId="2353275714" sldId="2147375773"/>
            <ac:spMk id="211" creationId="{673CDDED-142C-C919-CD25-6DDAB919D512}"/>
          </ac:spMkLst>
        </pc:spChg>
        <pc:graphicFrameChg chg="mod">
          <ac:chgData name="Jorge Costa" userId="6f0ed375-7d90-4a84-93f2-03ffaae48f30" providerId="ADAL" clId="{03E48706-ED28-4E40-9B7D-8C36692CE558}" dt="2023-09-20T14:52:04.383" v="85402"/>
          <ac:graphicFrameMkLst>
            <pc:docMk/>
            <pc:sldMk cId="2353275714" sldId="2147375773"/>
            <ac:graphicFrameMk id="6" creationId="{63A4715E-B7F9-BA75-94AB-B57C471D4624}"/>
          </ac:graphicFrameMkLst>
        </pc:graphicFrameChg>
        <pc:cxnChg chg="add mod ord replST">
          <ac:chgData name="Jorge Costa" userId="6f0ed375-7d90-4a84-93f2-03ffaae48f30" providerId="ADAL" clId="{03E48706-ED28-4E40-9B7D-8C36692CE558}" dt="2023-09-20T12:43:30.771" v="11992"/>
          <ac:cxnSpMkLst>
            <pc:docMk/>
            <pc:sldMk cId="2353275714" sldId="2147375773"/>
            <ac:cxnSpMk id="38" creationId="{3318C2B6-0E8E-C8DB-64B3-CAA160058E10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4"/>
          <ac:cxnSpMkLst>
            <pc:docMk/>
            <pc:sldMk cId="2353275714" sldId="2147375773"/>
            <ac:cxnSpMk id="39" creationId="{F94F0A26-8A99-9BEE-86ED-E864ADDB506B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4"/>
          <ac:cxnSpMkLst>
            <pc:docMk/>
            <pc:sldMk cId="2353275714" sldId="2147375773"/>
            <ac:cxnSpMk id="40" creationId="{0AED5409-F12A-FEEF-C127-4553FA935248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8"/>
          <ac:cxnSpMkLst>
            <pc:docMk/>
            <pc:sldMk cId="2353275714" sldId="2147375773"/>
            <ac:cxnSpMk id="41" creationId="{359E6F5F-D1E9-529D-3ADD-15C53426E269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0"/>
          <ac:cxnSpMkLst>
            <pc:docMk/>
            <pc:sldMk cId="2353275714" sldId="2147375773"/>
            <ac:cxnSpMk id="42" creationId="{0236AB47-9C8A-75C6-5C07-EAD24C45E3D9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2"/>
          <ac:cxnSpMkLst>
            <pc:docMk/>
            <pc:sldMk cId="2353275714" sldId="2147375773"/>
            <ac:cxnSpMk id="43" creationId="{AF42AE0D-0743-992B-260A-1B6BE271DEE7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8"/>
          <ac:cxnSpMkLst>
            <pc:docMk/>
            <pc:sldMk cId="2353275714" sldId="2147375773"/>
            <ac:cxnSpMk id="44" creationId="{0B135372-732E-DA76-84AF-B2789D614433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6"/>
          <ac:cxnSpMkLst>
            <pc:docMk/>
            <pc:sldMk cId="2353275714" sldId="2147375773"/>
            <ac:cxnSpMk id="45" creationId="{2B604994-2F72-5783-B135-3DE03E924AB7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2000"/>
          <ac:cxnSpMkLst>
            <pc:docMk/>
            <pc:sldMk cId="2353275714" sldId="2147375773"/>
            <ac:cxnSpMk id="46" creationId="{0F214D55-44D7-8E04-EFAF-7F9716E0FB37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4"/>
          <ac:cxnSpMkLst>
            <pc:docMk/>
            <pc:sldMk cId="2353275714" sldId="2147375773"/>
            <ac:cxnSpMk id="47" creationId="{7505FE11-D34B-B941-3AB2-3F7E051AD8AA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2"/>
          <ac:cxnSpMkLst>
            <pc:docMk/>
            <pc:sldMk cId="2353275714" sldId="2147375773"/>
            <ac:cxnSpMk id="48" creationId="{25D691FB-B14C-5BA3-8345-AC0360F440EE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6"/>
          <ac:cxnSpMkLst>
            <pc:docMk/>
            <pc:sldMk cId="2353275714" sldId="2147375773"/>
            <ac:cxnSpMk id="49" creationId="{7FB809C4-8450-0C2E-1E41-454F4FB77D02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2002"/>
          <ac:cxnSpMkLst>
            <pc:docMk/>
            <pc:sldMk cId="2353275714" sldId="2147375773"/>
            <ac:cxnSpMk id="50" creationId="{DC487231-5187-6D2F-3E79-9AA7DA3000AE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6"/>
          <ac:cxnSpMkLst>
            <pc:docMk/>
            <pc:sldMk cId="2353275714" sldId="2147375773"/>
            <ac:cxnSpMk id="51" creationId="{84A1BDB7-E2EF-0F37-9117-287DD5162DF0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0"/>
          <ac:cxnSpMkLst>
            <pc:docMk/>
            <pc:sldMk cId="2353275714" sldId="2147375773"/>
            <ac:cxnSpMk id="52" creationId="{70021605-9CF2-EA1D-6142-4C6113D8A843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0"/>
          <ac:cxnSpMkLst>
            <pc:docMk/>
            <pc:sldMk cId="2353275714" sldId="2147375773"/>
            <ac:cxnSpMk id="53" creationId="{FDDA2859-AE28-97E3-C1DF-629C79C7BD24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28"/>
          <ac:cxnSpMkLst>
            <pc:docMk/>
            <pc:sldMk cId="2353275714" sldId="2147375773"/>
            <ac:cxnSpMk id="54" creationId="{681D39C6-E78C-B22E-C0E4-05CC6BCE5C52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4"/>
          <ac:cxnSpMkLst>
            <pc:docMk/>
            <pc:sldMk cId="2353275714" sldId="2147375773"/>
            <ac:cxnSpMk id="55" creationId="{77B335D0-7DDC-B4D7-B3F5-3822EB0F38A2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2"/>
          <ac:cxnSpMkLst>
            <pc:docMk/>
            <pc:sldMk cId="2353275714" sldId="2147375773"/>
            <ac:cxnSpMk id="56" creationId="{6FCEF9BB-7F35-67FD-9A81-4EBE68273A56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26"/>
          <ac:cxnSpMkLst>
            <pc:docMk/>
            <pc:sldMk cId="2353275714" sldId="2147375773"/>
            <ac:cxnSpMk id="57" creationId="{9BDBAB7E-A548-9578-83E3-9675C2FDC2DE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4"/>
          <ac:cxnSpMkLst>
            <pc:docMk/>
            <pc:sldMk cId="2353275714" sldId="2147375773"/>
            <ac:cxnSpMk id="58" creationId="{95B333FB-033D-4138-6EBA-C92E1814B934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2"/>
          <ac:cxnSpMkLst>
            <pc:docMk/>
            <pc:sldMk cId="2353275714" sldId="2147375773"/>
            <ac:cxnSpMk id="59" creationId="{6D5B5B52-89C7-527F-4C7D-FBCB440B3E2A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4"/>
          <ac:cxnSpMkLst>
            <pc:docMk/>
            <pc:sldMk cId="2353275714" sldId="2147375773"/>
            <ac:cxnSpMk id="60" creationId="{C34732A6-1B02-B505-8991-C1BA9D92675C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0"/>
          <ac:cxnSpMkLst>
            <pc:docMk/>
            <pc:sldMk cId="2353275714" sldId="2147375773"/>
            <ac:cxnSpMk id="61" creationId="{8B7FC1E6-2655-F7C3-874F-2BB0E0EF4A8F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8"/>
          <ac:cxnSpMkLst>
            <pc:docMk/>
            <pc:sldMk cId="2353275714" sldId="2147375773"/>
            <ac:cxnSpMk id="62" creationId="{3CE05907-5DC3-537B-A67D-75C5CC0B8908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48"/>
          <ac:cxnSpMkLst>
            <pc:docMk/>
            <pc:sldMk cId="2353275714" sldId="2147375773"/>
            <ac:cxnSpMk id="63" creationId="{DBB0C9EE-5462-F388-CF30-9F9796B3431F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46"/>
          <ac:cxnSpMkLst>
            <pc:docMk/>
            <pc:sldMk cId="2353275714" sldId="2147375773"/>
            <ac:cxnSpMk id="64" creationId="{1091C917-1165-42C0-581A-BFC1448A2141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2"/>
          <ac:cxnSpMkLst>
            <pc:docMk/>
            <pc:sldMk cId="2353275714" sldId="2147375773"/>
            <ac:cxnSpMk id="65" creationId="{5A47DC7B-601E-6754-0993-572A3522A42E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0"/>
          <ac:cxnSpMkLst>
            <pc:docMk/>
            <pc:sldMk cId="2353275714" sldId="2147375773"/>
            <ac:cxnSpMk id="66" creationId="{8B28C33E-FFD3-892B-97E3-3691CAF2F6A6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4"/>
          <ac:cxnSpMkLst>
            <pc:docMk/>
            <pc:sldMk cId="2353275714" sldId="2147375773"/>
            <ac:cxnSpMk id="67" creationId="{659848EF-7FEF-63B8-07E4-FFDCFA186EED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0"/>
          <ac:cxnSpMkLst>
            <pc:docMk/>
            <pc:sldMk cId="2353275714" sldId="2147375773"/>
            <ac:cxnSpMk id="68" creationId="{D98D1BA2-5F19-9549-4DC6-0ACF35F22E0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6"/>
          <ac:cxnSpMkLst>
            <pc:docMk/>
            <pc:sldMk cId="2353275714" sldId="2147375773"/>
            <ac:cxnSpMk id="69" creationId="{C94E4CA7-E097-D8A3-4F6A-0338AFD2F2EF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6"/>
          <ac:cxnSpMkLst>
            <pc:docMk/>
            <pc:sldMk cId="2353275714" sldId="2147375773"/>
            <ac:cxnSpMk id="70" creationId="{A0D52725-A9A9-80D8-1CA3-EE7655755914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8"/>
          <ac:cxnSpMkLst>
            <pc:docMk/>
            <pc:sldMk cId="2353275714" sldId="2147375773"/>
            <ac:cxnSpMk id="71" creationId="{D395F62F-72A2-EF64-5D31-4F98663928A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2"/>
          <ac:cxnSpMkLst>
            <pc:docMk/>
            <pc:sldMk cId="2353275714" sldId="2147375773"/>
            <ac:cxnSpMk id="72" creationId="{E10473D5-C978-2F0B-950B-06B2D9C3F99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4"/>
          <ac:cxnSpMkLst>
            <pc:docMk/>
            <pc:sldMk cId="2353275714" sldId="2147375773"/>
            <ac:cxnSpMk id="73" creationId="{990A144E-F96C-2C12-9D72-18F4865E5D8C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8"/>
          <ac:cxnSpMkLst>
            <pc:docMk/>
            <pc:sldMk cId="2353275714" sldId="2147375773"/>
            <ac:cxnSpMk id="74" creationId="{D4A2E6BB-E8B0-DB59-F000-70720066411B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70"/>
          <ac:cxnSpMkLst>
            <pc:docMk/>
            <pc:sldMk cId="2353275714" sldId="2147375773"/>
            <ac:cxnSpMk id="75" creationId="{58F2959A-74DC-6F5A-3CF1-5CC6CD6C8B50}"/>
          </ac:cxnSpMkLst>
        </pc:cxnChg>
        <pc:cxnChg chg="add mod ord replST">
          <ac:chgData name="Jorge Costa" userId="6f0ed375-7d90-4a84-93f2-03ffaae48f30" providerId="ADAL" clId="{03E48706-ED28-4E40-9B7D-8C36692CE558}" dt="2023-09-20T12:43:30.802" v="12126"/>
          <ac:cxnSpMkLst>
            <pc:docMk/>
            <pc:sldMk cId="2353275714" sldId="2147375773"/>
            <ac:cxnSpMk id="104" creationId="{16C09043-B53A-B25A-9CB0-26205C63905B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0"/>
          <ac:cxnSpMkLst>
            <pc:docMk/>
            <pc:sldMk cId="2353275714" sldId="2147375773"/>
            <ac:cxnSpMk id="119" creationId="{99BB4090-06EF-3EFF-DA31-EEEEAB2C807C}"/>
          </ac:cxnSpMkLst>
        </pc:cxnChg>
        <pc:cxnChg chg="add mod ord replST">
          <ac:chgData name="Jorge Costa" userId="6f0ed375-7d90-4a84-93f2-03ffaae48f30" providerId="ADAL" clId="{03E48706-ED28-4E40-9B7D-8C36692CE558}" dt="2023-09-20T12:43:30.811" v="12156"/>
          <ac:cxnSpMkLst>
            <pc:docMk/>
            <pc:sldMk cId="2353275714" sldId="2147375773"/>
            <ac:cxnSpMk id="120" creationId="{41A02CEE-6AB9-111A-684E-7581AA05B93B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4"/>
          <ac:cxnSpMkLst>
            <pc:docMk/>
            <pc:sldMk cId="2353275714" sldId="2147375773"/>
            <ac:cxnSpMk id="121" creationId="{488C494D-EB25-8D06-DD8B-83AF9C768D32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2"/>
          <ac:cxnSpMkLst>
            <pc:docMk/>
            <pc:sldMk cId="2353275714" sldId="2147375773"/>
            <ac:cxnSpMk id="122" creationId="{2E570AF1-7C1C-7CD0-2A6F-A1391AC02B03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58"/>
          <ac:cxnSpMkLst>
            <pc:docMk/>
            <pc:sldMk cId="2353275714" sldId="2147375773"/>
            <ac:cxnSpMk id="123" creationId="{134D82FB-CDCE-B147-F847-13D4BED18BD4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6"/>
          <ac:cxnSpMkLst>
            <pc:docMk/>
            <pc:sldMk cId="2353275714" sldId="2147375773"/>
            <ac:cxnSpMk id="204" creationId="{1DA6B509-842A-5FDC-26BE-FB78FBBA2F9F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8"/>
          <ac:cxnSpMkLst>
            <pc:docMk/>
            <pc:sldMk cId="2353275714" sldId="2147375773"/>
            <ac:cxnSpMk id="205" creationId="{620130A9-F3DA-7212-1B9E-6A10F6B27AB3}"/>
          </ac:cxnSpMkLst>
        </pc:cxnChg>
      </pc:sldChg>
      <pc:sldChg chg="addSp delSp modSp add del mod modTransition modShow">
        <pc:chgData name="Jorge Costa" userId="6f0ed375-7d90-4a84-93f2-03ffaae48f30" providerId="ADAL" clId="{03E48706-ED28-4E40-9B7D-8C36692CE558}" dt="2023-09-28T06:47:05.245" v="85405" actId="47"/>
        <pc:sldMkLst>
          <pc:docMk/>
          <pc:sldMk cId="2708255378" sldId="2147375774"/>
        </pc:sldMkLst>
        <pc:spChg chg="mod ord">
          <ac:chgData name="Jorge Costa" userId="6f0ed375-7d90-4a84-93f2-03ffaae48f30" providerId="ADAL" clId="{03E48706-ED28-4E40-9B7D-8C36692CE558}" dt="2023-09-20T14:51:08.542" v="83370" actId="948"/>
          <ac:spMkLst>
            <pc:docMk/>
            <pc:sldMk cId="2708255378" sldId="2147375774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09-20T12:48:09.755" v="13940"/>
          <ac:spMkLst>
            <pc:docMk/>
            <pc:sldMk cId="2708255378" sldId="2147375774"/>
            <ac:spMk id="3" creationId="{0455AA2F-A267-9065-398F-3FB87B2267EE}"/>
          </ac:spMkLst>
        </pc:spChg>
        <pc:spChg chg="mod ord">
          <ac:chgData name="Jorge Costa" userId="6f0ed375-7d90-4a84-93f2-03ffaae48f30" providerId="ADAL" clId="{03E48706-ED28-4E40-9B7D-8C36692CE558}" dt="2023-09-20T13:03:36.239" v="32511"/>
          <ac:spMkLst>
            <pc:docMk/>
            <pc:sldMk cId="2708255378" sldId="2147375774"/>
            <ac:spMk id="4" creationId="{86B112D9-9E4A-0DDF-DF01-494C86A59AE4}"/>
          </ac:spMkLst>
        </pc:spChg>
        <pc:spChg chg="mod ord">
          <ac:chgData name="Jorge Costa" userId="6f0ed375-7d90-4a84-93f2-03ffaae48f30" providerId="ADAL" clId="{03E48706-ED28-4E40-9B7D-8C36692CE558}" dt="2023-09-20T14:50:53.963" v="82576"/>
          <ac:spMkLst>
            <pc:docMk/>
            <pc:sldMk cId="2708255378" sldId="2147375774"/>
            <ac:spMk id="7" creationId="{245666E8-02FD-0C74-B44E-7AE3767F444D}"/>
          </ac:spMkLst>
        </pc:spChg>
        <pc:spChg chg="mod">
          <ac:chgData name="Jorge Costa" userId="6f0ed375-7d90-4a84-93f2-03ffaae48f30" providerId="ADAL" clId="{03E48706-ED28-4E40-9B7D-8C36692CE558}" dt="2023-09-20T14:51:08.611" v="83428"/>
          <ac:spMkLst>
            <pc:docMk/>
            <pc:sldMk cId="2708255378" sldId="2147375774"/>
            <ac:spMk id="8" creationId="{832E0ADE-9505-5D0F-B156-BD6693FC8E17}"/>
          </ac:spMkLst>
        </pc:spChg>
        <pc:spChg chg="mod">
          <ac:chgData name="Jorge Costa" userId="6f0ed375-7d90-4a84-93f2-03ffaae48f30" providerId="ADAL" clId="{03E48706-ED28-4E40-9B7D-8C36692CE558}" dt="2023-09-20T14:51:08.612" v="83429"/>
          <ac:spMkLst>
            <pc:docMk/>
            <pc:sldMk cId="2708255378" sldId="2147375774"/>
            <ac:spMk id="9" creationId="{A97F4F57-B717-B7A7-9E96-FC6466097F66}"/>
          </ac:spMkLst>
        </pc:spChg>
        <pc:spChg chg="mod">
          <ac:chgData name="Jorge Costa" userId="6f0ed375-7d90-4a84-93f2-03ffaae48f30" providerId="ADAL" clId="{03E48706-ED28-4E40-9B7D-8C36692CE558}" dt="2023-09-20T14:51:08.612" v="83430"/>
          <ac:spMkLst>
            <pc:docMk/>
            <pc:sldMk cId="2708255378" sldId="2147375774"/>
            <ac:spMk id="10" creationId="{94881DCA-8412-9387-A67E-3E995AB3B33C}"/>
          </ac:spMkLst>
        </pc:spChg>
        <pc:spChg chg="mod">
          <ac:chgData name="Jorge Costa" userId="6f0ed375-7d90-4a84-93f2-03ffaae48f30" providerId="ADAL" clId="{03E48706-ED28-4E40-9B7D-8C36692CE558}" dt="2023-09-20T14:51:08.613" v="83431"/>
          <ac:spMkLst>
            <pc:docMk/>
            <pc:sldMk cId="2708255378" sldId="2147375774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09-20T14:51:08.614" v="83432"/>
          <ac:spMkLst>
            <pc:docMk/>
            <pc:sldMk cId="2708255378" sldId="2147375774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09-20T14:51:08.614" v="83433"/>
          <ac:spMkLst>
            <pc:docMk/>
            <pc:sldMk cId="2708255378" sldId="2147375774"/>
            <ac:spMk id="13" creationId="{48FFC757-7EC8-F223-3013-164FA4CF0A3A}"/>
          </ac:spMkLst>
        </pc:spChg>
        <pc:spChg chg="mod">
          <ac:chgData name="Jorge Costa" userId="6f0ed375-7d90-4a84-93f2-03ffaae48f30" providerId="ADAL" clId="{03E48706-ED28-4E40-9B7D-8C36692CE558}" dt="2023-09-20T14:51:08.615" v="83435"/>
          <ac:spMkLst>
            <pc:docMk/>
            <pc:sldMk cId="2708255378" sldId="2147375774"/>
            <ac:spMk id="14" creationId="{E3FE1A85-8F2C-8880-6526-F9E3DFFC37E5}"/>
          </ac:spMkLst>
        </pc:spChg>
        <pc:spChg chg="mod">
          <ac:chgData name="Jorge Costa" userId="6f0ed375-7d90-4a84-93f2-03ffaae48f30" providerId="ADAL" clId="{03E48706-ED28-4E40-9B7D-8C36692CE558}" dt="2023-09-20T14:51:08.616" v="83436"/>
          <ac:spMkLst>
            <pc:docMk/>
            <pc:sldMk cId="2708255378" sldId="2147375774"/>
            <ac:spMk id="15" creationId="{F7F0A6F3-D95B-497E-F355-A2E6FE2F5E05}"/>
          </ac:spMkLst>
        </pc:spChg>
        <pc:spChg chg="mod">
          <ac:chgData name="Jorge Costa" userId="6f0ed375-7d90-4a84-93f2-03ffaae48f30" providerId="ADAL" clId="{03E48706-ED28-4E40-9B7D-8C36692CE558}" dt="2023-09-20T14:51:08.616" v="83437"/>
          <ac:spMkLst>
            <pc:docMk/>
            <pc:sldMk cId="2708255378" sldId="2147375774"/>
            <ac:spMk id="16" creationId="{B202D854-EE6A-1020-17AE-89F7BF9E7CF5}"/>
          </ac:spMkLst>
        </pc:spChg>
        <pc:spChg chg="mod">
          <ac:chgData name="Jorge Costa" userId="6f0ed375-7d90-4a84-93f2-03ffaae48f30" providerId="ADAL" clId="{03E48706-ED28-4E40-9B7D-8C36692CE558}" dt="2023-09-20T14:51:08.617" v="83438"/>
          <ac:spMkLst>
            <pc:docMk/>
            <pc:sldMk cId="2708255378" sldId="2147375774"/>
            <ac:spMk id="17" creationId="{AD639961-5275-8B0E-26E0-3913707989C9}"/>
          </ac:spMkLst>
        </pc:spChg>
        <pc:spChg chg="mod">
          <ac:chgData name="Jorge Costa" userId="6f0ed375-7d90-4a84-93f2-03ffaae48f30" providerId="ADAL" clId="{03E48706-ED28-4E40-9B7D-8C36692CE558}" dt="2023-09-20T14:51:08.617" v="83439"/>
          <ac:spMkLst>
            <pc:docMk/>
            <pc:sldMk cId="2708255378" sldId="2147375774"/>
            <ac:spMk id="18" creationId="{F464795A-315D-0935-4DBA-BB133BE83627}"/>
          </ac:spMkLst>
        </pc:spChg>
        <pc:spChg chg="mod">
          <ac:chgData name="Jorge Costa" userId="6f0ed375-7d90-4a84-93f2-03ffaae48f30" providerId="ADAL" clId="{03E48706-ED28-4E40-9B7D-8C36692CE558}" dt="2023-09-20T14:51:08.618" v="83440"/>
          <ac:spMkLst>
            <pc:docMk/>
            <pc:sldMk cId="2708255378" sldId="2147375774"/>
            <ac:spMk id="19" creationId="{387E8560-ACF0-CED7-6098-1E11BD02C2D3}"/>
          </ac:spMkLst>
        </pc:spChg>
        <pc:spChg chg="mod">
          <ac:chgData name="Jorge Costa" userId="6f0ed375-7d90-4a84-93f2-03ffaae48f30" providerId="ADAL" clId="{03E48706-ED28-4E40-9B7D-8C36692CE558}" dt="2023-09-20T14:51:08.618" v="83441"/>
          <ac:spMkLst>
            <pc:docMk/>
            <pc:sldMk cId="2708255378" sldId="2147375774"/>
            <ac:spMk id="20" creationId="{2C31C18D-601D-8E44-49E3-0F047CA7D993}"/>
          </ac:spMkLst>
        </pc:spChg>
        <pc:spChg chg="mod">
          <ac:chgData name="Jorge Costa" userId="6f0ed375-7d90-4a84-93f2-03ffaae48f30" providerId="ADAL" clId="{03E48706-ED28-4E40-9B7D-8C36692CE558}" dt="2023-09-20T14:51:08.619" v="83442"/>
          <ac:spMkLst>
            <pc:docMk/>
            <pc:sldMk cId="2708255378" sldId="2147375774"/>
            <ac:spMk id="21" creationId="{28352F4C-49B9-737A-A389-FD4D5067825F}"/>
          </ac:spMkLst>
        </pc:spChg>
        <pc:spChg chg="mod">
          <ac:chgData name="Jorge Costa" userId="6f0ed375-7d90-4a84-93f2-03ffaae48f30" providerId="ADAL" clId="{03E48706-ED28-4E40-9B7D-8C36692CE558}" dt="2023-09-20T14:51:08.619" v="83443"/>
          <ac:spMkLst>
            <pc:docMk/>
            <pc:sldMk cId="2708255378" sldId="2147375774"/>
            <ac:spMk id="22" creationId="{0C501449-003D-ABD7-D654-6511EAABAE58}"/>
          </ac:spMkLst>
        </pc:spChg>
        <pc:spChg chg="mod">
          <ac:chgData name="Jorge Costa" userId="6f0ed375-7d90-4a84-93f2-03ffaae48f30" providerId="ADAL" clId="{03E48706-ED28-4E40-9B7D-8C36692CE558}" dt="2023-09-20T14:51:08.620" v="83444"/>
          <ac:spMkLst>
            <pc:docMk/>
            <pc:sldMk cId="2708255378" sldId="2147375774"/>
            <ac:spMk id="23" creationId="{89A1D609-5C19-16AD-C89A-573C94A2E3CC}"/>
          </ac:spMkLst>
        </pc:spChg>
        <pc:spChg chg="mod">
          <ac:chgData name="Jorge Costa" userId="6f0ed375-7d90-4a84-93f2-03ffaae48f30" providerId="ADAL" clId="{03E48706-ED28-4E40-9B7D-8C36692CE558}" dt="2023-09-20T14:51:08.620" v="83445"/>
          <ac:spMkLst>
            <pc:docMk/>
            <pc:sldMk cId="2708255378" sldId="2147375774"/>
            <ac:spMk id="24" creationId="{DD158A05-7D46-2D8E-5314-B3BE2ED2D4D8}"/>
          </ac:spMkLst>
        </pc:spChg>
        <pc:spChg chg="mod">
          <ac:chgData name="Jorge Costa" userId="6f0ed375-7d90-4a84-93f2-03ffaae48f30" providerId="ADAL" clId="{03E48706-ED28-4E40-9B7D-8C36692CE558}" dt="2023-09-20T14:51:08.621" v="83446"/>
          <ac:spMkLst>
            <pc:docMk/>
            <pc:sldMk cId="2708255378" sldId="2147375774"/>
            <ac:spMk id="25" creationId="{B2F36601-03D4-5E88-6403-09E52A36BC3C}"/>
          </ac:spMkLst>
        </pc:spChg>
        <pc:spChg chg="mod">
          <ac:chgData name="Jorge Costa" userId="6f0ed375-7d90-4a84-93f2-03ffaae48f30" providerId="ADAL" clId="{03E48706-ED28-4E40-9B7D-8C36692CE558}" dt="2023-09-20T14:51:08.621" v="83447"/>
          <ac:spMkLst>
            <pc:docMk/>
            <pc:sldMk cId="2708255378" sldId="2147375774"/>
            <ac:spMk id="26" creationId="{FE6341D3-07F5-C81A-6DB1-811B8839DD48}"/>
          </ac:spMkLst>
        </pc:spChg>
        <pc:spChg chg="mod">
          <ac:chgData name="Jorge Costa" userId="6f0ed375-7d90-4a84-93f2-03ffaae48f30" providerId="ADAL" clId="{03E48706-ED28-4E40-9B7D-8C36692CE558}" dt="2023-09-20T14:51:08.622" v="83448"/>
          <ac:spMkLst>
            <pc:docMk/>
            <pc:sldMk cId="2708255378" sldId="2147375774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09-20T14:51:08.622" v="83449"/>
          <ac:spMkLst>
            <pc:docMk/>
            <pc:sldMk cId="2708255378" sldId="2147375774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09-20T14:51:08.623" v="83450"/>
          <ac:spMkLst>
            <pc:docMk/>
            <pc:sldMk cId="2708255378" sldId="2147375774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09-20T14:51:08.624" v="83451"/>
          <ac:spMkLst>
            <pc:docMk/>
            <pc:sldMk cId="2708255378" sldId="2147375774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09-20T14:51:08.624" v="83452"/>
          <ac:spMkLst>
            <pc:docMk/>
            <pc:sldMk cId="2708255378" sldId="2147375774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09-20T14:51:08.625" v="83453"/>
          <ac:spMkLst>
            <pc:docMk/>
            <pc:sldMk cId="2708255378" sldId="2147375774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09-20T14:51:08.626" v="83454"/>
          <ac:spMkLst>
            <pc:docMk/>
            <pc:sldMk cId="2708255378" sldId="2147375774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09-20T14:51:08.626" v="83455"/>
          <ac:spMkLst>
            <pc:docMk/>
            <pc:sldMk cId="2708255378" sldId="2147375774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09-20T14:51:08.627" v="83456"/>
          <ac:spMkLst>
            <pc:docMk/>
            <pc:sldMk cId="2708255378" sldId="2147375774"/>
            <ac:spMk id="35" creationId="{EEF6EB0C-177E-9BFB-6BFF-0CA68710799F}"/>
          </ac:spMkLst>
        </pc:spChg>
        <pc:spChg chg="mod">
          <ac:chgData name="Jorge Costa" userId="6f0ed375-7d90-4a84-93f2-03ffaae48f30" providerId="ADAL" clId="{03E48706-ED28-4E40-9B7D-8C36692CE558}" dt="2023-09-20T14:51:08.627" v="83457"/>
          <ac:spMkLst>
            <pc:docMk/>
            <pc:sldMk cId="2708255378" sldId="2147375774"/>
            <ac:spMk id="36" creationId="{B5B6D605-349A-6084-9928-1BC09354AC68}"/>
          </ac:spMkLst>
        </pc:spChg>
        <pc:spChg chg="mod">
          <ac:chgData name="Jorge Costa" userId="6f0ed375-7d90-4a84-93f2-03ffaae48f30" providerId="ADAL" clId="{03E48706-ED28-4E40-9B7D-8C36692CE558}" dt="2023-09-20T14:51:08.628" v="83458"/>
          <ac:spMkLst>
            <pc:docMk/>
            <pc:sldMk cId="2708255378" sldId="2147375774"/>
            <ac:spMk id="37" creationId="{A5B8BB60-1706-9635-187B-89B4D443A786}"/>
          </ac:spMkLst>
        </pc:spChg>
        <pc:spChg chg="mod ord">
          <ac:chgData name="Jorge Costa" userId="6f0ed375-7d90-4a84-93f2-03ffaae48f30" providerId="ADAL" clId="{03E48706-ED28-4E40-9B7D-8C36692CE558}" dt="2023-09-20T14:50:53.925" v="82410"/>
          <ac:spMkLst>
            <pc:docMk/>
            <pc:sldMk cId="2708255378" sldId="2147375774"/>
            <ac:spMk id="76" creationId="{24951F3E-9F97-5DBE-B77A-298A28CA4AAD}"/>
          </ac:spMkLst>
        </pc:spChg>
        <pc:spChg chg="mod ord">
          <ac:chgData name="Jorge Costa" userId="6f0ed375-7d90-4a84-93f2-03ffaae48f30" providerId="ADAL" clId="{03E48706-ED28-4E40-9B7D-8C36692CE558}" dt="2023-09-20T14:50:53.910" v="82348"/>
          <ac:spMkLst>
            <pc:docMk/>
            <pc:sldMk cId="2708255378" sldId="2147375774"/>
            <ac:spMk id="77" creationId="{759867DF-7539-B770-CB59-C901C2FA0140}"/>
          </ac:spMkLst>
        </pc:spChg>
        <pc:spChg chg="mod ord">
          <ac:chgData name="Jorge Costa" userId="6f0ed375-7d90-4a84-93f2-03ffaae48f30" providerId="ADAL" clId="{03E48706-ED28-4E40-9B7D-8C36692CE558}" dt="2023-09-20T14:50:53.936" v="82454"/>
          <ac:spMkLst>
            <pc:docMk/>
            <pc:sldMk cId="2708255378" sldId="2147375774"/>
            <ac:spMk id="78" creationId="{EC9AEC77-0EB0-88F4-88B1-98B222F97630}"/>
          </ac:spMkLst>
        </pc:spChg>
        <pc:spChg chg="mod ord">
          <ac:chgData name="Jorge Costa" userId="6f0ed375-7d90-4a84-93f2-03ffaae48f30" providerId="ADAL" clId="{03E48706-ED28-4E40-9B7D-8C36692CE558}" dt="2023-09-20T14:50:53.947" v="82500"/>
          <ac:spMkLst>
            <pc:docMk/>
            <pc:sldMk cId="2708255378" sldId="2147375774"/>
            <ac:spMk id="79" creationId="{A8F45AF6-AE81-B504-2E8B-16324CD7A924}"/>
          </ac:spMkLst>
        </pc:spChg>
        <pc:spChg chg="mod ord">
          <ac:chgData name="Jorge Costa" userId="6f0ed375-7d90-4a84-93f2-03ffaae48f30" providerId="ADAL" clId="{03E48706-ED28-4E40-9B7D-8C36692CE558}" dt="2023-09-20T14:50:53.915" v="82366"/>
          <ac:spMkLst>
            <pc:docMk/>
            <pc:sldMk cId="2708255378" sldId="2147375774"/>
            <ac:spMk id="80" creationId="{E8A70A06-14D6-7576-4E83-7ED88C349FBE}"/>
          </ac:spMkLst>
        </pc:spChg>
        <pc:spChg chg="mod ord">
          <ac:chgData name="Jorge Costa" userId="6f0ed375-7d90-4a84-93f2-03ffaae48f30" providerId="ADAL" clId="{03E48706-ED28-4E40-9B7D-8C36692CE558}" dt="2023-09-20T14:50:53.958" v="82544"/>
          <ac:spMkLst>
            <pc:docMk/>
            <pc:sldMk cId="2708255378" sldId="2147375774"/>
            <ac:spMk id="81" creationId="{574674D3-E63F-3021-4E34-4BF9F77A1A3E}"/>
          </ac:spMkLst>
        </pc:spChg>
        <pc:spChg chg="mod ord">
          <ac:chgData name="Jorge Costa" userId="6f0ed375-7d90-4a84-93f2-03ffaae48f30" providerId="ADAL" clId="{03E48706-ED28-4E40-9B7D-8C36692CE558}" dt="2023-09-20T14:50:53.934" v="82446"/>
          <ac:spMkLst>
            <pc:docMk/>
            <pc:sldMk cId="2708255378" sldId="2147375774"/>
            <ac:spMk id="82" creationId="{DC5C6603-6780-EBA1-0F0C-CA8A1BB20716}"/>
          </ac:spMkLst>
        </pc:spChg>
        <pc:spChg chg="mod ord">
          <ac:chgData name="Jorge Costa" userId="6f0ed375-7d90-4a84-93f2-03ffaae48f30" providerId="ADAL" clId="{03E48706-ED28-4E40-9B7D-8C36692CE558}" dt="2023-09-20T14:50:53.953" v="82526"/>
          <ac:spMkLst>
            <pc:docMk/>
            <pc:sldMk cId="2708255378" sldId="2147375774"/>
            <ac:spMk id="83" creationId="{C43672E4-4B2F-7446-F12B-0ABDB775A9B1}"/>
          </ac:spMkLst>
        </pc:spChg>
        <pc:spChg chg="mod ord">
          <ac:chgData name="Jorge Costa" userId="6f0ed375-7d90-4a84-93f2-03ffaae48f30" providerId="ADAL" clId="{03E48706-ED28-4E40-9B7D-8C36692CE558}" dt="2023-09-20T14:50:53.963" v="82566"/>
          <ac:spMkLst>
            <pc:docMk/>
            <pc:sldMk cId="2708255378" sldId="2147375774"/>
            <ac:spMk id="84" creationId="{B1502E28-8F22-CEA5-4D70-E88101056327}"/>
          </ac:spMkLst>
        </pc:spChg>
        <pc:spChg chg="mod ord">
          <ac:chgData name="Jorge Costa" userId="6f0ed375-7d90-4a84-93f2-03ffaae48f30" providerId="ADAL" clId="{03E48706-ED28-4E40-9B7D-8C36692CE558}" dt="2023-09-20T14:50:53.963" v="82562"/>
          <ac:spMkLst>
            <pc:docMk/>
            <pc:sldMk cId="2708255378" sldId="2147375774"/>
            <ac:spMk id="85" creationId="{72177406-905D-B543-3A9D-F800D11CAD0E}"/>
          </ac:spMkLst>
        </pc:spChg>
        <pc:spChg chg="mod ord">
          <ac:chgData name="Jorge Costa" userId="6f0ed375-7d90-4a84-93f2-03ffaae48f30" providerId="ADAL" clId="{03E48706-ED28-4E40-9B7D-8C36692CE558}" dt="2023-09-20T14:50:53.928" v="82420"/>
          <ac:spMkLst>
            <pc:docMk/>
            <pc:sldMk cId="2708255378" sldId="2147375774"/>
            <ac:spMk id="86" creationId="{31C1DE5A-5E92-1425-4749-90BE4EC69EED}"/>
          </ac:spMkLst>
        </pc:spChg>
        <pc:spChg chg="mod ord">
          <ac:chgData name="Jorge Costa" userId="6f0ed375-7d90-4a84-93f2-03ffaae48f30" providerId="ADAL" clId="{03E48706-ED28-4E40-9B7D-8C36692CE558}" dt="2023-09-20T14:50:53.906" v="82332"/>
          <ac:spMkLst>
            <pc:docMk/>
            <pc:sldMk cId="2708255378" sldId="2147375774"/>
            <ac:spMk id="87" creationId="{5E1758D2-C48A-CED3-4B12-7B1F05E7C48F}"/>
          </ac:spMkLst>
        </pc:spChg>
        <pc:spChg chg="mod ord">
          <ac:chgData name="Jorge Costa" userId="6f0ed375-7d90-4a84-93f2-03ffaae48f30" providerId="ADAL" clId="{03E48706-ED28-4E40-9B7D-8C36692CE558}" dt="2023-09-20T14:50:53.919" v="82380"/>
          <ac:spMkLst>
            <pc:docMk/>
            <pc:sldMk cId="2708255378" sldId="2147375774"/>
            <ac:spMk id="88" creationId="{BBBFD8CB-FB4B-7F48-3051-479676BCFA50}"/>
          </ac:spMkLst>
        </pc:spChg>
        <pc:spChg chg="mod ord">
          <ac:chgData name="Jorge Costa" userId="6f0ed375-7d90-4a84-93f2-03ffaae48f30" providerId="ADAL" clId="{03E48706-ED28-4E40-9B7D-8C36692CE558}" dt="2023-09-20T14:50:53.922" v="82398"/>
          <ac:spMkLst>
            <pc:docMk/>
            <pc:sldMk cId="2708255378" sldId="2147375774"/>
            <ac:spMk id="89" creationId="{8004B1A7-CAB5-9024-BF76-127CC7BCA884}"/>
          </ac:spMkLst>
        </pc:spChg>
        <pc:spChg chg="mod ord">
          <ac:chgData name="Jorge Costa" userId="6f0ed375-7d90-4a84-93f2-03ffaae48f30" providerId="ADAL" clId="{03E48706-ED28-4E40-9B7D-8C36692CE558}" dt="2023-09-20T14:50:53.939" v="82462"/>
          <ac:spMkLst>
            <pc:docMk/>
            <pc:sldMk cId="2708255378" sldId="2147375774"/>
            <ac:spMk id="90" creationId="{C87E00D8-1032-ADDC-62A3-F67FE42559DB}"/>
          </ac:spMkLst>
        </pc:spChg>
        <pc:spChg chg="mod ord">
          <ac:chgData name="Jorge Costa" userId="6f0ed375-7d90-4a84-93f2-03ffaae48f30" providerId="ADAL" clId="{03E48706-ED28-4E40-9B7D-8C36692CE558}" dt="2023-09-20T14:50:53.953" v="82534"/>
          <ac:spMkLst>
            <pc:docMk/>
            <pc:sldMk cId="2708255378" sldId="2147375774"/>
            <ac:spMk id="91" creationId="{0F174C73-F7C3-75E0-B8F2-22F6B14E326B}"/>
          </ac:spMkLst>
        </pc:spChg>
        <pc:spChg chg="mod ord">
          <ac:chgData name="Jorge Costa" userId="6f0ed375-7d90-4a84-93f2-03ffaae48f30" providerId="ADAL" clId="{03E48706-ED28-4E40-9B7D-8C36692CE558}" dt="2023-09-20T14:50:53.908" v="82340"/>
          <ac:spMkLst>
            <pc:docMk/>
            <pc:sldMk cId="2708255378" sldId="2147375774"/>
            <ac:spMk id="92" creationId="{D7CFF45C-49EB-F0CB-951B-513801FE172E}"/>
          </ac:spMkLst>
        </pc:spChg>
        <pc:spChg chg="mod ord">
          <ac:chgData name="Jorge Costa" userId="6f0ed375-7d90-4a84-93f2-03ffaae48f30" providerId="ADAL" clId="{03E48706-ED28-4E40-9B7D-8C36692CE558}" dt="2023-09-20T14:50:53.919" v="82384"/>
          <ac:spMkLst>
            <pc:docMk/>
            <pc:sldMk cId="2708255378" sldId="2147375774"/>
            <ac:spMk id="93" creationId="{EEB9D741-AF27-7196-568F-116E1C16CD87}"/>
          </ac:spMkLst>
        </pc:spChg>
        <pc:spChg chg="mod ord">
          <ac:chgData name="Jorge Costa" userId="6f0ed375-7d90-4a84-93f2-03ffaae48f30" providerId="ADAL" clId="{03E48706-ED28-4E40-9B7D-8C36692CE558}" dt="2023-09-20T14:50:53.929" v="82424"/>
          <ac:spMkLst>
            <pc:docMk/>
            <pc:sldMk cId="2708255378" sldId="2147375774"/>
            <ac:spMk id="94" creationId="{5B010D88-B94B-9A70-AF5E-73B3428B073D}"/>
          </ac:spMkLst>
        </pc:spChg>
        <pc:spChg chg="mod ord">
          <ac:chgData name="Jorge Costa" userId="6f0ed375-7d90-4a84-93f2-03ffaae48f30" providerId="ADAL" clId="{03E48706-ED28-4E40-9B7D-8C36692CE558}" dt="2023-09-20T14:50:53.924" v="82406"/>
          <ac:spMkLst>
            <pc:docMk/>
            <pc:sldMk cId="2708255378" sldId="2147375774"/>
            <ac:spMk id="95" creationId="{D85D6D1E-20A3-D354-A415-551A12F216FC}"/>
          </ac:spMkLst>
        </pc:spChg>
        <pc:spChg chg="mod ord">
          <ac:chgData name="Jorge Costa" userId="6f0ed375-7d90-4a84-93f2-03ffaae48f30" providerId="ADAL" clId="{03E48706-ED28-4E40-9B7D-8C36692CE558}" dt="2023-09-20T14:50:53.949" v="82518"/>
          <ac:spMkLst>
            <pc:docMk/>
            <pc:sldMk cId="2708255378" sldId="2147375774"/>
            <ac:spMk id="96" creationId="{5C9AD7AA-4804-4A15-7703-ADE6ED032A46}"/>
          </ac:spMkLst>
        </pc:spChg>
        <pc:spChg chg="mod ord">
          <ac:chgData name="Jorge Costa" userId="6f0ed375-7d90-4a84-93f2-03ffaae48f30" providerId="ADAL" clId="{03E48706-ED28-4E40-9B7D-8C36692CE558}" dt="2023-09-20T14:50:53.914" v="82362"/>
          <ac:spMkLst>
            <pc:docMk/>
            <pc:sldMk cId="2708255378" sldId="2147375774"/>
            <ac:spMk id="97" creationId="{CB079841-C947-728E-9976-E681C6E3EBBE}"/>
          </ac:spMkLst>
        </pc:spChg>
        <pc:spChg chg="mod ord">
          <ac:chgData name="Jorge Costa" userId="6f0ed375-7d90-4a84-93f2-03ffaae48f30" providerId="ADAL" clId="{03E48706-ED28-4E40-9B7D-8C36692CE558}" dt="2023-09-20T14:50:53.958" v="82540"/>
          <ac:spMkLst>
            <pc:docMk/>
            <pc:sldMk cId="2708255378" sldId="2147375774"/>
            <ac:spMk id="98" creationId="{D7C5C6B8-194E-9FA5-66A8-510BA2234F98}"/>
          </ac:spMkLst>
        </pc:spChg>
        <pc:spChg chg="mod ord">
          <ac:chgData name="Jorge Costa" userId="6f0ed375-7d90-4a84-93f2-03ffaae48f30" providerId="ADAL" clId="{03E48706-ED28-4E40-9B7D-8C36692CE558}" dt="2023-09-20T14:50:53.946" v="82492"/>
          <ac:spMkLst>
            <pc:docMk/>
            <pc:sldMk cId="2708255378" sldId="2147375774"/>
            <ac:spMk id="99" creationId="{C27DD4B9-8F9E-D63F-A464-C4761EF453FD}"/>
          </ac:spMkLst>
        </pc:spChg>
        <pc:spChg chg="del mod">
          <ac:chgData name="Jorge Costa" userId="6f0ed375-7d90-4a84-93f2-03ffaae48f30" providerId="ADAL" clId="{03E48706-ED28-4E40-9B7D-8C36692CE558}" dt="2023-09-20T13:02:53.017" v="30582"/>
          <ac:spMkLst>
            <pc:docMk/>
            <pc:sldMk cId="2708255378" sldId="2147375774"/>
            <ac:spMk id="100" creationId="{6A2677BD-1119-4491-004B-E520D461F74E}"/>
          </ac:spMkLst>
        </pc:spChg>
        <pc:spChg chg="del mod">
          <ac:chgData name="Jorge Costa" userId="6f0ed375-7d90-4a84-93f2-03ffaae48f30" providerId="ADAL" clId="{03E48706-ED28-4E40-9B7D-8C36692CE558}" dt="2023-09-20T13:02:53.017" v="30583"/>
          <ac:spMkLst>
            <pc:docMk/>
            <pc:sldMk cId="2708255378" sldId="2147375774"/>
            <ac:spMk id="101" creationId="{58C58167-67C1-A981-77BA-1AEDD48B7C94}"/>
          </ac:spMkLst>
        </pc:spChg>
        <pc:spChg chg="mod ord">
          <ac:chgData name="Jorge Costa" userId="6f0ed375-7d90-4a84-93f2-03ffaae48f30" providerId="ADAL" clId="{03E48706-ED28-4E40-9B7D-8C36692CE558}" dt="2023-09-20T14:50:53.893" v="82316"/>
          <ac:spMkLst>
            <pc:docMk/>
            <pc:sldMk cId="2708255378" sldId="2147375774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09-20T14:50:53.893" v="82300"/>
          <ac:spMkLst>
            <pc:docMk/>
            <pc:sldMk cId="2708255378" sldId="2147375774"/>
            <ac:spMk id="103" creationId="{B3E03E21-2D27-3131-9305-2E086B933DB0}"/>
          </ac:spMkLst>
        </pc:spChg>
        <pc:spChg chg="mod ord">
          <ac:chgData name="Jorge Costa" userId="6f0ed375-7d90-4a84-93f2-03ffaae48f30" providerId="ADAL" clId="{03E48706-ED28-4E40-9B7D-8C36692CE558}" dt="2023-09-20T14:50:53.888" v="82256"/>
          <ac:spMkLst>
            <pc:docMk/>
            <pc:sldMk cId="2708255378" sldId="2147375774"/>
            <ac:spMk id="105" creationId="{B3AED892-2D40-B531-5E5B-84966311A7B5}"/>
          </ac:spMkLst>
        </pc:spChg>
        <pc:spChg chg="mod ord">
          <ac:chgData name="Jorge Costa" userId="6f0ed375-7d90-4a84-93f2-03ffaae48f30" providerId="ADAL" clId="{03E48706-ED28-4E40-9B7D-8C36692CE558}" dt="2023-09-20T14:50:53.883" v="82240"/>
          <ac:spMkLst>
            <pc:docMk/>
            <pc:sldMk cId="2708255378" sldId="2147375774"/>
            <ac:spMk id="106" creationId="{BF9A870E-AF50-6E3F-2788-F19E6F25C7A4}"/>
          </ac:spMkLst>
        </pc:spChg>
        <pc:spChg chg="mod ord">
          <ac:chgData name="Jorge Costa" userId="6f0ed375-7d90-4a84-93f2-03ffaae48f30" providerId="ADAL" clId="{03E48706-ED28-4E40-9B7D-8C36692CE558}" dt="2023-09-20T14:50:53.876" v="82224"/>
          <ac:spMkLst>
            <pc:docMk/>
            <pc:sldMk cId="2708255378" sldId="2147375774"/>
            <ac:spMk id="107" creationId="{D498AF04-A7A2-06B8-0C1C-9A1F24DA0FC7}"/>
          </ac:spMkLst>
        </pc:spChg>
        <pc:spChg chg="mod ord">
          <ac:chgData name="Jorge Costa" userId="6f0ed375-7d90-4a84-93f2-03ffaae48f30" providerId="ADAL" clId="{03E48706-ED28-4E40-9B7D-8C36692CE558}" dt="2023-09-20T14:50:53.876" v="82208"/>
          <ac:spMkLst>
            <pc:docMk/>
            <pc:sldMk cId="2708255378" sldId="2147375774"/>
            <ac:spMk id="108" creationId="{CB5FED4F-3383-2F5D-C67F-63EECAFF00BC}"/>
          </ac:spMkLst>
        </pc:spChg>
        <pc:spChg chg="mod ord">
          <ac:chgData name="Jorge Costa" userId="6f0ed375-7d90-4a84-93f2-03ffaae48f30" providerId="ADAL" clId="{03E48706-ED28-4E40-9B7D-8C36692CE558}" dt="2023-09-20T14:50:53.944" v="82482"/>
          <ac:spMkLst>
            <pc:docMk/>
            <pc:sldMk cId="2708255378" sldId="2147375774"/>
            <ac:spMk id="109" creationId="{91A0A2DE-067D-11D8-E61D-85B616F1C802}"/>
          </ac:spMkLst>
        </pc:spChg>
        <pc:spChg chg="mod ord">
          <ac:chgData name="Jorge Costa" userId="6f0ed375-7d90-4a84-93f2-03ffaae48f30" providerId="ADAL" clId="{03E48706-ED28-4E40-9B7D-8C36692CE558}" dt="2023-09-20T14:50:53.931" v="82436"/>
          <ac:spMkLst>
            <pc:docMk/>
            <pc:sldMk cId="2708255378" sldId="2147375774"/>
            <ac:spMk id="110" creationId="{D0E1042E-B43A-105E-F291-5C01AF2E68AE}"/>
          </ac:spMkLst>
        </pc:spChg>
        <pc:spChg chg="mod ord">
          <ac:chgData name="Jorge Costa" userId="6f0ed375-7d90-4a84-93f2-03ffaae48f30" providerId="ADAL" clId="{03E48706-ED28-4E40-9B7D-8C36692CE558}" dt="2023-09-20T14:50:53.941" v="82474"/>
          <ac:spMkLst>
            <pc:docMk/>
            <pc:sldMk cId="2708255378" sldId="2147375774"/>
            <ac:spMk id="111" creationId="{5B5281C9-C019-C7D6-BC49-713304DE76AD}"/>
          </ac:spMkLst>
        </pc:spChg>
        <pc:spChg chg="mod ord">
          <ac:chgData name="Jorge Costa" userId="6f0ed375-7d90-4a84-93f2-03ffaae48f30" providerId="ADAL" clId="{03E48706-ED28-4E40-9B7D-8C36692CE558}" dt="2023-09-20T14:50:53.920" v="82388"/>
          <ac:spMkLst>
            <pc:docMk/>
            <pc:sldMk cId="2708255378" sldId="2147375774"/>
            <ac:spMk id="112" creationId="{2697DA24-C9FD-08F2-4BCD-35FD73B0B67D}"/>
          </ac:spMkLst>
        </pc:spChg>
        <pc:spChg chg="mod ord">
          <ac:chgData name="Jorge Costa" userId="6f0ed375-7d90-4a84-93f2-03ffaae48f30" providerId="ADAL" clId="{03E48706-ED28-4E40-9B7D-8C36692CE558}" dt="2023-09-20T13:03:36.286" v="32707"/>
          <ac:spMkLst>
            <pc:docMk/>
            <pc:sldMk cId="2708255378" sldId="2147375774"/>
            <ac:spMk id="113" creationId="{1D84C512-C8A5-2F3D-DC66-F15C7CB8E26C}"/>
          </ac:spMkLst>
        </pc:spChg>
        <pc:spChg chg="mod ord">
          <ac:chgData name="Jorge Costa" userId="6f0ed375-7d90-4a84-93f2-03ffaae48f30" providerId="ADAL" clId="{03E48706-ED28-4E40-9B7D-8C36692CE558}" dt="2023-09-20T14:50:53.949" v="82508"/>
          <ac:spMkLst>
            <pc:docMk/>
            <pc:sldMk cId="2708255378" sldId="2147375774"/>
            <ac:spMk id="114" creationId="{D18BC5E0-1467-E784-C4CA-F4CB1C543DBB}"/>
          </ac:spMkLst>
        </pc:spChg>
        <pc:spChg chg="mod ord">
          <ac:chgData name="Jorge Costa" userId="6f0ed375-7d90-4a84-93f2-03ffaae48f30" providerId="ADAL" clId="{03E48706-ED28-4E40-9B7D-8C36692CE558}" dt="2023-09-20T14:50:53.958" v="82552"/>
          <ac:spMkLst>
            <pc:docMk/>
            <pc:sldMk cId="2708255378" sldId="2147375774"/>
            <ac:spMk id="115" creationId="{1AE70446-B4CE-2D72-0BD7-240EE57C8F21}"/>
          </ac:spMkLst>
        </pc:spChg>
        <pc:spChg chg="mod ord">
          <ac:chgData name="Jorge Costa" userId="6f0ed375-7d90-4a84-93f2-03ffaae48f30" providerId="ADAL" clId="{03E48706-ED28-4E40-9B7D-8C36692CE558}" dt="2023-09-20T14:50:53.940" v="82466"/>
          <ac:spMkLst>
            <pc:docMk/>
            <pc:sldMk cId="2708255378" sldId="2147375774"/>
            <ac:spMk id="116" creationId="{F347976F-2CB3-10E3-4628-BD2574770EA0}"/>
          </ac:spMkLst>
        </pc:spChg>
        <pc:spChg chg="mod ord">
          <ac:chgData name="Jorge Costa" userId="6f0ed375-7d90-4a84-93f2-03ffaae48f30" providerId="ADAL" clId="{03E48706-ED28-4E40-9B7D-8C36692CE558}" dt="2023-09-20T14:50:53.916" v="82370"/>
          <ac:spMkLst>
            <pc:docMk/>
            <pc:sldMk cId="2708255378" sldId="2147375774"/>
            <ac:spMk id="117" creationId="{10863595-3AB8-3F4E-C711-28427DDF8152}"/>
          </ac:spMkLst>
        </pc:spChg>
        <pc:spChg chg="mod ord">
          <ac:chgData name="Jorge Costa" userId="6f0ed375-7d90-4a84-93f2-03ffaae48f30" providerId="ADAL" clId="{03E48706-ED28-4E40-9B7D-8C36692CE558}" dt="2023-09-20T14:50:53.929" v="82428"/>
          <ac:spMkLst>
            <pc:docMk/>
            <pc:sldMk cId="2708255378" sldId="2147375774"/>
            <ac:spMk id="118" creationId="{22DCAE1F-3305-AF8B-3502-37EAFE0290EA}"/>
          </ac:spMkLst>
        </pc:spChg>
        <pc:spChg chg="mod">
          <ac:chgData name="Jorge Costa" userId="6f0ed375-7d90-4a84-93f2-03ffaae48f30" providerId="ADAL" clId="{03E48706-ED28-4E40-9B7D-8C36692CE558}" dt="2023-09-20T14:51:08.553" v="83384"/>
          <ac:spMkLst>
            <pc:docMk/>
            <pc:sldMk cId="2708255378" sldId="2147375774"/>
            <ac:spMk id="124" creationId="{6C6730CE-6C8A-FA2E-4721-9C2209967225}"/>
          </ac:spMkLst>
        </pc:spChg>
        <pc:spChg chg="mod ord">
          <ac:chgData name="Jorge Costa" userId="6f0ed375-7d90-4a84-93f2-03ffaae48f30" providerId="ADAL" clId="{03E48706-ED28-4E40-9B7D-8C36692CE558}" dt="2023-09-20T14:51:08.573" v="83421" actId="948"/>
          <ac:spMkLst>
            <pc:docMk/>
            <pc:sldMk cId="2708255378" sldId="2147375774"/>
            <ac:spMk id="125" creationId="{19698886-28B9-358F-B5E0-27B746C82BAE}"/>
          </ac:spMkLst>
        </pc:spChg>
        <pc:spChg chg="mod">
          <ac:chgData name="Jorge Costa" userId="6f0ed375-7d90-4a84-93f2-03ffaae48f30" providerId="ADAL" clId="{03E48706-ED28-4E40-9B7D-8C36692CE558}" dt="2023-09-20T14:51:08.553" v="83383"/>
          <ac:spMkLst>
            <pc:docMk/>
            <pc:sldMk cId="2708255378" sldId="2147375774"/>
            <ac:spMk id="126" creationId="{738C59B6-7678-5A1B-2E85-98A515305264}"/>
          </ac:spMkLst>
        </pc:spChg>
        <pc:spChg chg="mod ord">
          <ac:chgData name="Jorge Costa" userId="6f0ed375-7d90-4a84-93f2-03ffaae48f30" providerId="ADAL" clId="{03E48706-ED28-4E40-9B7D-8C36692CE558}" dt="2023-09-20T14:51:08.563" v="83407" actId="948"/>
          <ac:spMkLst>
            <pc:docMk/>
            <pc:sldMk cId="2708255378" sldId="2147375774"/>
            <ac:spMk id="127" creationId="{43A5B4E9-1A9C-D91D-4FE2-C56383576718}"/>
          </ac:spMkLst>
        </pc:spChg>
        <pc:spChg chg="mod ord">
          <ac:chgData name="Jorge Costa" userId="6f0ed375-7d90-4a84-93f2-03ffaae48f30" providerId="ADAL" clId="{03E48706-ED28-4E40-9B7D-8C36692CE558}" dt="2023-09-20T14:51:08.570" v="83418" actId="948"/>
          <ac:spMkLst>
            <pc:docMk/>
            <pc:sldMk cId="2708255378" sldId="2147375774"/>
            <ac:spMk id="128" creationId="{7DD8E3B5-EFB3-A991-22BA-5D164AE9CBD1}"/>
          </ac:spMkLst>
        </pc:spChg>
        <pc:spChg chg="mod ord">
          <ac:chgData name="Jorge Costa" userId="6f0ed375-7d90-4a84-93f2-03ffaae48f30" providerId="ADAL" clId="{03E48706-ED28-4E40-9B7D-8C36692CE558}" dt="2023-09-20T14:51:08.573" v="83420" actId="948"/>
          <ac:spMkLst>
            <pc:docMk/>
            <pc:sldMk cId="2708255378" sldId="2147375774"/>
            <ac:spMk id="129" creationId="{A6FD8DDE-9E22-5578-5432-46E8A296902A}"/>
          </ac:spMkLst>
        </pc:spChg>
        <pc:spChg chg="mod">
          <ac:chgData name="Jorge Costa" userId="6f0ed375-7d90-4a84-93f2-03ffaae48f30" providerId="ADAL" clId="{03E48706-ED28-4E40-9B7D-8C36692CE558}" dt="2023-09-20T14:51:08.553" v="83385"/>
          <ac:spMkLst>
            <pc:docMk/>
            <pc:sldMk cId="2708255378" sldId="2147375774"/>
            <ac:spMk id="130" creationId="{4A715BFD-2CAD-217D-62FE-178DD4333817}"/>
          </ac:spMkLst>
        </pc:spChg>
        <pc:spChg chg="mod">
          <ac:chgData name="Jorge Costa" userId="6f0ed375-7d90-4a84-93f2-03ffaae48f30" providerId="ADAL" clId="{03E48706-ED28-4E40-9B7D-8C36692CE558}" dt="2023-09-20T14:51:08.553" v="83386"/>
          <ac:spMkLst>
            <pc:docMk/>
            <pc:sldMk cId="2708255378" sldId="2147375774"/>
            <ac:spMk id="131" creationId="{CC798BAB-2E2F-895E-0067-E110844B9C0F}"/>
          </ac:spMkLst>
        </pc:spChg>
        <pc:spChg chg="mod ord">
          <ac:chgData name="Jorge Costa" userId="6f0ed375-7d90-4a84-93f2-03ffaae48f30" providerId="ADAL" clId="{03E48706-ED28-4E40-9B7D-8C36692CE558}" dt="2023-09-20T14:51:08.573" v="83419" actId="948"/>
          <ac:spMkLst>
            <pc:docMk/>
            <pc:sldMk cId="2708255378" sldId="2147375774"/>
            <ac:spMk id="132" creationId="{6EF28A77-0036-DEEF-5CC4-114A0BE194C3}"/>
          </ac:spMkLst>
        </pc:spChg>
        <pc:spChg chg="mod ord">
          <ac:chgData name="Jorge Costa" userId="6f0ed375-7d90-4a84-93f2-03ffaae48f30" providerId="ADAL" clId="{03E48706-ED28-4E40-9B7D-8C36692CE558}" dt="2023-09-20T14:51:08.573" v="83424" actId="948"/>
          <ac:spMkLst>
            <pc:docMk/>
            <pc:sldMk cId="2708255378" sldId="2147375774"/>
            <ac:spMk id="133" creationId="{8D25B7F6-74C7-8418-3ACC-C26C78E5706D}"/>
          </ac:spMkLst>
        </pc:spChg>
        <pc:spChg chg="mod">
          <ac:chgData name="Jorge Costa" userId="6f0ed375-7d90-4a84-93f2-03ffaae48f30" providerId="ADAL" clId="{03E48706-ED28-4E40-9B7D-8C36692CE558}" dt="2023-09-20T14:51:08.543" v="83371"/>
          <ac:spMkLst>
            <pc:docMk/>
            <pc:sldMk cId="2708255378" sldId="2147375774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09-20T14:51:08.573" v="83423" actId="948"/>
          <ac:spMkLst>
            <pc:docMk/>
            <pc:sldMk cId="2708255378" sldId="2147375774"/>
            <ac:spMk id="135" creationId="{F9039647-D59B-E747-6EC5-ACCB872A93DE}"/>
          </ac:spMkLst>
        </pc:spChg>
        <pc:spChg chg="mod">
          <ac:chgData name="Jorge Costa" userId="6f0ed375-7d90-4a84-93f2-03ffaae48f30" providerId="ADAL" clId="{03E48706-ED28-4E40-9B7D-8C36692CE558}" dt="2023-09-20T14:51:08.553" v="83382"/>
          <ac:spMkLst>
            <pc:docMk/>
            <pc:sldMk cId="2708255378" sldId="2147375774"/>
            <ac:spMk id="136" creationId="{5C5175D3-46A7-2576-2CEB-66AC48A018AE}"/>
          </ac:spMkLst>
        </pc:spChg>
        <pc:spChg chg="mod">
          <ac:chgData name="Jorge Costa" userId="6f0ed375-7d90-4a84-93f2-03ffaae48f30" providerId="ADAL" clId="{03E48706-ED28-4E40-9B7D-8C36692CE558}" dt="2023-09-20T14:51:08.553" v="83387"/>
          <ac:spMkLst>
            <pc:docMk/>
            <pc:sldMk cId="2708255378" sldId="2147375774"/>
            <ac:spMk id="137" creationId="{FD4D0756-ABE1-667E-1BAF-1ED91C6C1FB1}"/>
          </ac:spMkLst>
        </pc:spChg>
        <pc:spChg chg="mod">
          <ac:chgData name="Jorge Costa" userId="6f0ed375-7d90-4a84-93f2-03ffaae48f30" providerId="ADAL" clId="{03E48706-ED28-4E40-9B7D-8C36692CE558}" dt="2023-09-20T14:51:08.553" v="83388"/>
          <ac:spMkLst>
            <pc:docMk/>
            <pc:sldMk cId="2708255378" sldId="2147375774"/>
            <ac:spMk id="138" creationId="{8C780FA9-0134-8146-6C92-216EB8325815}"/>
          </ac:spMkLst>
        </pc:spChg>
        <pc:spChg chg="mod">
          <ac:chgData name="Jorge Costa" userId="6f0ed375-7d90-4a84-93f2-03ffaae48f30" providerId="ADAL" clId="{03E48706-ED28-4E40-9B7D-8C36692CE558}" dt="2023-09-20T14:51:08.553" v="83381"/>
          <ac:spMkLst>
            <pc:docMk/>
            <pc:sldMk cId="2708255378" sldId="2147375774"/>
            <ac:spMk id="139" creationId="{3AC89ABD-49C6-EA4E-B9B5-FB53470440C2}"/>
          </ac:spMkLst>
        </pc:spChg>
        <pc:spChg chg="mod ord">
          <ac:chgData name="Jorge Costa" userId="6f0ed375-7d90-4a84-93f2-03ffaae48f30" providerId="ADAL" clId="{03E48706-ED28-4E40-9B7D-8C36692CE558}" dt="2023-09-20T14:51:08.575" v="83425" actId="948"/>
          <ac:spMkLst>
            <pc:docMk/>
            <pc:sldMk cId="2708255378" sldId="2147375774"/>
            <ac:spMk id="140" creationId="{A54749A8-E351-3ABF-856F-4F56C085586F}"/>
          </ac:spMkLst>
        </pc:spChg>
        <pc:spChg chg="mod ord">
          <ac:chgData name="Jorge Costa" userId="6f0ed375-7d90-4a84-93f2-03ffaae48f30" providerId="ADAL" clId="{03E48706-ED28-4E40-9B7D-8C36692CE558}" dt="2023-09-20T14:51:08.570" v="83415" actId="948"/>
          <ac:spMkLst>
            <pc:docMk/>
            <pc:sldMk cId="2708255378" sldId="2147375774"/>
            <ac:spMk id="141" creationId="{8DFC854E-C047-7CC3-3E74-13BC620FAC09}"/>
          </ac:spMkLst>
        </pc:spChg>
        <pc:spChg chg="mod">
          <ac:chgData name="Jorge Costa" userId="6f0ed375-7d90-4a84-93f2-03ffaae48f30" providerId="ADAL" clId="{03E48706-ED28-4E40-9B7D-8C36692CE558}" dt="2023-09-20T14:51:08.553" v="83389"/>
          <ac:spMkLst>
            <pc:docMk/>
            <pc:sldMk cId="2708255378" sldId="2147375774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09-20T14:51:08.610" v="83427"/>
          <ac:spMkLst>
            <pc:docMk/>
            <pc:sldMk cId="2708255378" sldId="2147375774"/>
            <ac:spMk id="143" creationId="{BC0B9DA0-2056-FBB9-2F75-87406D42E7CA}"/>
          </ac:spMkLst>
        </pc:spChg>
        <pc:spChg chg="mod ord">
          <ac:chgData name="Jorge Costa" userId="6f0ed375-7d90-4a84-93f2-03ffaae48f30" providerId="ADAL" clId="{03E48706-ED28-4E40-9B7D-8C36692CE558}" dt="2023-09-20T14:51:08.570" v="83414" actId="948"/>
          <ac:spMkLst>
            <pc:docMk/>
            <pc:sldMk cId="2708255378" sldId="2147375774"/>
            <ac:spMk id="144" creationId="{80204BE9-B85D-4B4E-AF77-EE14D11B4477}"/>
          </ac:spMkLst>
        </pc:spChg>
        <pc:spChg chg="mod">
          <ac:chgData name="Jorge Costa" userId="6f0ed375-7d90-4a84-93f2-03ffaae48f30" providerId="ADAL" clId="{03E48706-ED28-4E40-9B7D-8C36692CE558}" dt="2023-09-20T14:51:08.559" v="83391"/>
          <ac:spMkLst>
            <pc:docMk/>
            <pc:sldMk cId="2708255378" sldId="2147375774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09-20T14:51:08.559" v="83392"/>
          <ac:spMkLst>
            <pc:docMk/>
            <pc:sldMk cId="2708255378" sldId="2147375774"/>
            <ac:spMk id="146" creationId="{BE11FADF-F089-21E6-BBDE-DB42BE9ED1AC}"/>
          </ac:spMkLst>
        </pc:spChg>
        <pc:spChg chg="mod ord">
          <ac:chgData name="Jorge Costa" userId="6f0ed375-7d90-4a84-93f2-03ffaae48f30" providerId="ADAL" clId="{03E48706-ED28-4E40-9B7D-8C36692CE558}" dt="2023-09-20T14:51:08.563" v="83403" actId="948"/>
          <ac:spMkLst>
            <pc:docMk/>
            <pc:sldMk cId="2708255378" sldId="2147375774"/>
            <ac:spMk id="147" creationId="{7A3F78B3-4114-251F-83BA-6DFB64A6F725}"/>
          </ac:spMkLst>
        </pc:spChg>
        <pc:spChg chg="mod ord">
          <ac:chgData name="Jorge Costa" userId="6f0ed375-7d90-4a84-93f2-03ffaae48f30" providerId="ADAL" clId="{03E48706-ED28-4E40-9B7D-8C36692CE558}" dt="2023-09-20T14:51:08.570" v="83413" actId="948"/>
          <ac:spMkLst>
            <pc:docMk/>
            <pc:sldMk cId="2708255378" sldId="2147375774"/>
            <ac:spMk id="148" creationId="{7AB7DD00-C303-A015-16F3-99FE744C2C6A}"/>
          </ac:spMkLst>
        </pc:spChg>
        <pc:spChg chg="mod ord">
          <ac:chgData name="Jorge Costa" userId="6f0ed375-7d90-4a84-93f2-03ffaae48f30" providerId="ADAL" clId="{03E48706-ED28-4E40-9B7D-8C36692CE558}" dt="2023-09-20T14:51:08.563" v="83406" actId="948"/>
          <ac:spMkLst>
            <pc:docMk/>
            <pc:sldMk cId="2708255378" sldId="2147375774"/>
            <ac:spMk id="149" creationId="{DFCD7434-521F-63C8-116D-C2768A004327}"/>
          </ac:spMkLst>
        </pc:spChg>
        <pc:spChg chg="mod ord">
          <ac:chgData name="Jorge Costa" userId="6f0ed375-7d90-4a84-93f2-03ffaae48f30" providerId="ADAL" clId="{03E48706-ED28-4E40-9B7D-8C36692CE558}" dt="2023-09-20T14:51:08.570" v="83417" actId="948"/>
          <ac:spMkLst>
            <pc:docMk/>
            <pc:sldMk cId="2708255378" sldId="2147375774"/>
            <ac:spMk id="150" creationId="{8F2490FA-1E32-D10C-CAAD-EBF7684222C6}"/>
          </ac:spMkLst>
        </pc:spChg>
        <pc:spChg chg="mod ord">
          <ac:chgData name="Jorge Costa" userId="6f0ed375-7d90-4a84-93f2-03ffaae48f30" providerId="ADAL" clId="{03E48706-ED28-4E40-9B7D-8C36692CE558}" dt="2023-09-20T14:51:08.563" v="83405" actId="948"/>
          <ac:spMkLst>
            <pc:docMk/>
            <pc:sldMk cId="2708255378" sldId="2147375774"/>
            <ac:spMk id="151" creationId="{8AC2E45D-825C-5261-35A7-85FE6E77FC57}"/>
          </ac:spMkLst>
        </pc:spChg>
        <pc:spChg chg="mod ord">
          <ac:chgData name="Jorge Costa" userId="6f0ed375-7d90-4a84-93f2-03ffaae48f30" providerId="ADAL" clId="{03E48706-ED28-4E40-9B7D-8C36692CE558}" dt="2023-09-20T14:51:08.570" v="83416" actId="948"/>
          <ac:spMkLst>
            <pc:docMk/>
            <pc:sldMk cId="2708255378" sldId="2147375774"/>
            <ac:spMk id="152" creationId="{E96AFBEC-2CA0-231F-C7FD-78B65B10E99C}"/>
          </ac:spMkLst>
        </pc:spChg>
        <pc:spChg chg="mod ord">
          <ac:chgData name="Jorge Costa" userId="6f0ed375-7d90-4a84-93f2-03ffaae48f30" providerId="ADAL" clId="{03E48706-ED28-4E40-9B7D-8C36692CE558}" dt="2023-09-20T14:51:08.563" v="83404" actId="948"/>
          <ac:spMkLst>
            <pc:docMk/>
            <pc:sldMk cId="2708255378" sldId="2147375774"/>
            <ac:spMk id="153" creationId="{59CDA602-4539-4308-25F3-D5C535DCB64C}"/>
          </ac:spMkLst>
        </pc:spChg>
        <pc:spChg chg="mod">
          <ac:chgData name="Jorge Costa" userId="6f0ed375-7d90-4a84-93f2-03ffaae48f30" providerId="ADAL" clId="{03E48706-ED28-4E40-9B7D-8C36692CE558}" dt="2023-09-20T14:51:08.543" v="83380"/>
          <ac:spMkLst>
            <pc:docMk/>
            <pc:sldMk cId="2708255378" sldId="2147375774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09-20T14:51:08.543" v="83379"/>
          <ac:spMkLst>
            <pc:docMk/>
            <pc:sldMk cId="2708255378" sldId="2147375774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09-20T14:51:08.563" v="83401" actId="948"/>
          <ac:spMkLst>
            <pc:docMk/>
            <pc:sldMk cId="2708255378" sldId="2147375774"/>
            <ac:spMk id="156" creationId="{74B262B7-2ED3-984F-6D4E-2C5B5383265C}"/>
          </ac:spMkLst>
        </pc:spChg>
        <pc:spChg chg="mod ord">
          <ac:chgData name="Jorge Costa" userId="6f0ed375-7d90-4a84-93f2-03ffaae48f30" providerId="ADAL" clId="{03E48706-ED28-4E40-9B7D-8C36692CE558}" dt="2023-09-20T14:51:08.570" v="83412" actId="948"/>
          <ac:spMkLst>
            <pc:docMk/>
            <pc:sldMk cId="2708255378" sldId="2147375774"/>
            <ac:spMk id="157" creationId="{7FE6667E-949A-3602-7053-CD983F74422A}"/>
          </ac:spMkLst>
        </pc:spChg>
        <pc:spChg chg="mod ord">
          <ac:chgData name="Jorge Costa" userId="6f0ed375-7d90-4a84-93f2-03ffaae48f30" providerId="ADAL" clId="{03E48706-ED28-4E40-9B7D-8C36692CE558}" dt="2023-09-20T14:51:08.570" v="83411" actId="948"/>
          <ac:spMkLst>
            <pc:docMk/>
            <pc:sldMk cId="2708255378" sldId="2147375774"/>
            <ac:spMk id="158" creationId="{8A81D56A-E2B0-E599-9F7D-D4891CE60E35}"/>
          </ac:spMkLst>
        </pc:spChg>
        <pc:spChg chg="mod ord">
          <ac:chgData name="Jorge Costa" userId="6f0ed375-7d90-4a84-93f2-03ffaae48f30" providerId="ADAL" clId="{03E48706-ED28-4E40-9B7D-8C36692CE558}" dt="2023-09-20T14:51:08.563" v="83400" actId="948"/>
          <ac:spMkLst>
            <pc:docMk/>
            <pc:sldMk cId="2708255378" sldId="2147375774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09-20T14:51:08.543" v="83378"/>
          <ac:spMkLst>
            <pc:docMk/>
            <pc:sldMk cId="2708255378" sldId="2147375774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09-20T14:51:08.563" v="83398" actId="948"/>
          <ac:spMkLst>
            <pc:docMk/>
            <pc:sldMk cId="2708255378" sldId="2147375774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09-20T14:51:08.543" v="83377"/>
          <ac:spMkLst>
            <pc:docMk/>
            <pc:sldMk cId="2708255378" sldId="2147375774"/>
            <ac:spMk id="162" creationId="{E96C98CC-35E6-155F-A2BB-395D92252494}"/>
          </ac:spMkLst>
        </pc:spChg>
        <pc:spChg chg="mod ord">
          <ac:chgData name="Jorge Costa" userId="6f0ed375-7d90-4a84-93f2-03ffaae48f30" providerId="ADAL" clId="{03E48706-ED28-4E40-9B7D-8C36692CE558}" dt="2023-09-20T14:51:08.563" v="83397" actId="948"/>
          <ac:spMkLst>
            <pc:docMk/>
            <pc:sldMk cId="2708255378" sldId="2147375774"/>
            <ac:spMk id="163" creationId="{254E10EB-BCA8-8A08-3626-E6483911E90A}"/>
          </ac:spMkLst>
        </pc:spChg>
        <pc:spChg chg="mod ord">
          <ac:chgData name="Jorge Costa" userId="6f0ed375-7d90-4a84-93f2-03ffaae48f30" providerId="ADAL" clId="{03E48706-ED28-4E40-9B7D-8C36692CE558}" dt="2023-09-20T14:51:08.570" v="83410" actId="948"/>
          <ac:spMkLst>
            <pc:docMk/>
            <pc:sldMk cId="2708255378" sldId="2147375774"/>
            <ac:spMk id="164" creationId="{4FF065B4-47A0-6B53-19F7-A3BF3FF671EC}"/>
          </ac:spMkLst>
        </pc:spChg>
        <pc:spChg chg="mod ord">
          <ac:chgData name="Jorge Costa" userId="6f0ed375-7d90-4a84-93f2-03ffaae48f30" providerId="ADAL" clId="{03E48706-ED28-4E40-9B7D-8C36692CE558}" dt="2023-09-20T14:51:08.570" v="83409" actId="948"/>
          <ac:spMkLst>
            <pc:docMk/>
            <pc:sldMk cId="2708255378" sldId="2147375774"/>
            <ac:spMk id="165" creationId="{9BAED334-20DC-73B3-E77A-AEC63E8C2CFA}"/>
          </ac:spMkLst>
        </pc:spChg>
        <pc:spChg chg="mod ord">
          <ac:chgData name="Jorge Costa" userId="6f0ed375-7d90-4a84-93f2-03ffaae48f30" providerId="ADAL" clId="{03E48706-ED28-4E40-9B7D-8C36692CE558}" dt="2023-09-20T14:51:08.563" v="83396" actId="948"/>
          <ac:spMkLst>
            <pc:docMk/>
            <pc:sldMk cId="2708255378" sldId="2147375774"/>
            <ac:spMk id="166" creationId="{D62BE5C2-BE81-0EA9-A848-F3A15287E667}"/>
          </ac:spMkLst>
        </pc:spChg>
        <pc:spChg chg="mod">
          <ac:chgData name="Jorge Costa" userId="6f0ed375-7d90-4a84-93f2-03ffaae48f30" providerId="ADAL" clId="{03E48706-ED28-4E40-9B7D-8C36692CE558}" dt="2023-09-20T14:51:08.543" v="83372"/>
          <ac:spMkLst>
            <pc:docMk/>
            <pc:sldMk cId="2708255378" sldId="2147375774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09-20T14:51:08.543" v="83376"/>
          <ac:spMkLst>
            <pc:docMk/>
            <pc:sldMk cId="2708255378" sldId="2147375774"/>
            <ac:spMk id="168" creationId="{4748057F-0C0B-F1F8-88A7-91DA9C5AF497}"/>
          </ac:spMkLst>
        </pc:spChg>
        <pc:spChg chg="mod ord">
          <ac:chgData name="Jorge Costa" userId="6f0ed375-7d90-4a84-93f2-03ffaae48f30" providerId="ADAL" clId="{03E48706-ED28-4E40-9B7D-8C36692CE558}" dt="2023-09-20T14:51:08.563" v="83395" actId="948"/>
          <ac:spMkLst>
            <pc:docMk/>
            <pc:sldMk cId="2708255378" sldId="2147375774"/>
            <ac:spMk id="169" creationId="{3CD5CEB9-051A-624A-F0AC-E92BB467E290}"/>
          </ac:spMkLst>
        </pc:spChg>
        <pc:spChg chg="mod">
          <ac:chgData name="Jorge Costa" userId="6f0ed375-7d90-4a84-93f2-03ffaae48f30" providerId="ADAL" clId="{03E48706-ED28-4E40-9B7D-8C36692CE558}" dt="2023-09-20T14:51:08.543" v="83375"/>
          <ac:spMkLst>
            <pc:docMk/>
            <pc:sldMk cId="2708255378" sldId="2147375774"/>
            <ac:spMk id="170" creationId="{4240C9BD-DD2D-3CA5-8728-54621356617B}"/>
          </ac:spMkLst>
        </pc:spChg>
        <pc:spChg chg="mod ord">
          <ac:chgData name="Jorge Costa" userId="6f0ed375-7d90-4a84-93f2-03ffaae48f30" providerId="ADAL" clId="{03E48706-ED28-4E40-9B7D-8C36692CE558}" dt="2023-09-20T14:51:08.563" v="83408" actId="948"/>
          <ac:spMkLst>
            <pc:docMk/>
            <pc:sldMk cId="2708255378" sldId="2147375774"/>
            <ac:spMk id="171" creationId="{0C030169-15B2-913D-AA34-B1500FDC28DD}"/>
          </ac:spMkLst>
        </pc:spChg>
        <pc:spChg chg="mod ord">
          <ac:chgData name="Jorge Costa" userId="6f0ed375-7d90-4a84-93f2-03ffaae48f30" providerId="ADAL" clId="{03E48706-ED28-4E40-9B7D-8C36692CE558}" dt="2023-09-20T14:51:08.563" v="83394" actId="948"/>
          <ac:spMkLst>
            <pc:docMk/>
            <pc:sldMk cId="2708255378" sldId="2147375774"/>
            <ac:spMk id="172" creationId="{7A663BAD-99A8-6A3C-A68C-D50D372C9523}"/>
          </ac:spMkLst>
        </pc:spChg>
        <pc:spChg chg="del mod ord">
          <ac:chgData name="Jorge Costa" userId="6f0ed375-7d90-4a84-93f2-03ffaae48f30" providerId="ADAL" clId="{03E48706-ED28-4E40-9B7D-8C36692CE558}" dt="2023-09-20T13:02:53.017" v="30585"/>
          <ac:spMkLst>
            <pc:docMk/>
            <pc:sldMk cId="2708255378" sldId="2147375774"/>
            <ac:spMk id="173" creationId="{610A7675-3824-9029-75FF-1E454E18D7D8}"/>
          </ac:spMkLst>
        </pc:spChg>
        <pc:spChg chg="mod">
          <ac:chgData name="Jorge Costa" userId="6f0ed375-7d90-4a84-93f2-03ffaae48f30" providerId="ADAL" clId="{03E48706-ED28-4E40-9B7D-8C36692CE558}" dt="2023-09-20T14:51:08.559" v="83393"/>
          <ac:spMkLst>
            <pc:docMk/>
            <pc:sldMk cId="2708255378" sldId="2147375774"/>
            <ac:spMk id="174" creationId="{257A72B1-B43D-7CCE-D605-973A834ED004}"/>
          </ac:spMkLst>
        </pc:spChg>
        <pc:spChg chg="mod">
          <ac:chgData name="Jorge Costa" userId="6f0ed375-7d90-4a84-93f2-03ffaae48f30" providerId="ADAL" clId="{03E48706-ED28-4E40-9B7D-8C36692CE558}" dt="2023-09-20T14:51:08.543" v="83374"/>
          <ac:spMkLst>
            <pc:docMk/>
            <pc:sldMk cId="2708255378" sldId="2147375774"/>
            <ac:spMk id="175" creationId="{6135BD5F-1956-A767-CC96-C4DA2DD15887}"/>
          </ac:spMkLst>
        </pc:spChg>
        <pc:spChg chg="mod">
          <ac:chgData name="Jorge Costa" userId="6f0ed375-7d90-4a84-93f2-03ffaae48f30" providerId="ADAL" clId="{03E48706-ED28-4E40-9B7D-8C36692CE558}" dt="2023-09-20T14:51:08.543" v="83373"/>
          <ac:spMkLst>
            <pc:docMk/>
            <pc:sldMk cId="2708255378" sldId="2147375774"/>
            <ac:spMk id="176" creationId="{04DB6562-B7D8-9BF5-16A5-49E4922F53EE}"/>
          </ac:spMkLst>
        </pc:spChg>
        <pc:spChg chg="mod ord">
          <ac:chgData name="Jorge Costa" userId="6f0ed375-7d90-4a84-93f2-03ffaae48f30" providerId="ADAL" clId="{03E48706-ED28-4E40-9B7D-8C36692CE558}" dt="2023-09-20T14:51:08.573" v="83422" actId="948"/>
          <ac:spMkLst>
            <pc:docMk/>
            <pc:sldMk cId="2708255378" sldId="2147375774"/>
            <ac:spMk id="177" creationId="{70BE88DB-3441-31B7-B0D0-2A211562DC40}"/>
          </ac:spMkLst>
        </pc:spChg>
        <pc:spChg chg="mod ord">
          <ac:chgData name="Jorge Costa" userId="6f0ed375-7d90-4a84-93f2-03ffaae48f30" providerId="ADAL" clId="{03E48706-ED28-4E40-9B7D-8C36692CE558}" dt="2023-09-20T13:03:36.318" v="32822"/>
          <ac:spMkLst>
            <pc:docMk/>
            <pc:sldMk cId="2708255378" sldId="2147375774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09-20T13:03:36.318" v="32824"/>
          <ac:spMkLst>
            <pc:docMk/>
            <pc:sldMk cId="2708255378" sldId="2147375774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09-20T13:03:36.318" v="32826"/>
          <ac:spMkLst>
            <pc:docMk/>
            <pc:sldMk cId="2708255378" sldId="2147375774"/>
            <ac:spMk id="180" creationId="{93122604-BC10-4A4C-9E24-2940B7629D74}"/>
          </ac:spMkLst>
        </pc:spChg>
        <pc:spChg chg="mod ord">
          <ac:chgData name="Jorge Costa" userId="6f0ed375-7d90-4a84-93f2-03ffaae48f30" providerId="ADAL" clId="{03E48706-ED28-4E40-9B7D-8C36692CE558}" dt="2023-09-20T13:03:36.318" v="32828"/>
          <ac:spMkLst>
            <pc:docMk/>
            <pc:sldMk cId="2708255378" sldId="2147375774"/>
            <ac:spMk id="181" creationId="{50B51311-DFFD-42A2-639B-5D130373991A}"/>
          </ac:spMkLst>
        </pc:spChg>
        <pc:spChg chg="mod ord">
          <ac:chgData name="Jorge Costa" userId="6f0ed375-7d90-4a84-93f2-03ffaae48f30" providerId="ADAL" clId="{03E48706-ED28-4E40-9B7D-8C36692CE558}" dt="2023-09-20T13:03:36.318" v="32830"/>
          <ac:spMkLst>
            <pc:docMk/>
            <pc:sldMk cId="2708255378" sldId="2147375774"/>
            <ac:spMk id="182" creationId="{AED957AA-EBE5-29F6-5CE4-0E1423919956}"/>
          </ac:spMkLst>
        </pc:spChg>
        <pc:spChg chg="mod ord">
          <ac:chgData name="Jorge Costa" userId="6f0ed375-7d90-4a84-93f2-03ffaae48f30" providerId="ADAL" clId="{03E48706-ED28-4E40-9B7D-8C36692CE558}" dt="2023-09-20T13:03:36.318" v="32832"/>
          <ac:spMkLst>
            <pc:docMk/>
            <pc:sldMk cId="2708255378" sldId="2147375774"/>
            <ac:spMk id="183" creationId="{CBF7097B-2A59-9514-9799-5EF1FE7D33A7}"/>
          </ac:spMkLst>
        </pc:spChg>
        <pc:spChg chg="mod ord">
          <ac:chgData name="Jorge Costa" userId="6f0ed375-7d90-4a84-93f2-03ffaae48f30" providerId="ADAL" clId="{03E48706-ED28-4E40-9B7D-8C36692CE558}" dt="2023-09-20T13:03:36.318" v="32834"/>
          <ac:spMkLst>
            <pc:docMk/>
            <pc:sldMk cId="2708255378" sldId="2147375774"/>
            <ac:spMk id="184" creationId="{4CB33E43-2961-48B6-FF22-5EE04C697D53}"/>
          </ac:spMkLst>
        </pc:spChg>
        <pc:spChg chg="mod ord">
          <ac:chgData name="Jorge Costa" userId="6f0ed375-7d90-4a84-93f2-03ffaae48f30" providerId="ADAL" clId="{03E48706-ED28-4E40-9B7D-8C36692CE558}" dt="2023-09-20T13:03:36.318" v="32836"/>
          <ac:spMkLst>
            <pc:docMk/>
            <pc:sldMk cId="2708255378" sldId="2147375774"/>
            <ac:spMk id="185" creationId="{082A4A55-6238-79FF-34BA-3B062355C4CB}"/>
          </ac:spMkLst>
        </pc:spChg>
        <pc:spChg chg="mod ord">
          <ac:chgData name="Jorge Costa" userId="6f0ed375-7d90-4a84-93f2-03ffaae48f30" providerId="ADAL" clId="{03E48706-ED28-4E40-9B7D-8C36692CE558}" dt="2023-09-20T13:03:36.326" v="32838"/>
          <ac:spMkLst>
            <pc:docMk/>
            <pc:sldMk cId="2708255378" sldId="2147375774"/>
            <ac:spMk id="186" creationId="{574E121B-0F1D-E231-CEF6-49CCF670BCBE}"/>
          </ac:spMkLst>
        </pc:spChg>
        <pc:spChg chg="mod ord">
          <ac:chgData name="Jorge Costa" userId="6f0ed375-7d90-4a84-93f2-03ffaae48f30" providerId="ADAL" clId="{03E48706-ED28-4E40-9B7D-8C36692CE558}" dt="2023-09-20T13:03:36.326" v="32840"/>
          <ac:spMkLst>
            <pc:docMk/>
            <pc:sldMk cId="2708255378" sldId="2147375774"/>
            <ac:spMk id="187" creationId="{16BDAEAE-D8DC-4D57-1629-21B90253F6C2}"/>
          </ac:spMkLst>
        </pc:spChg>
        <pc:spChg chg="mod ord">
          <ac:chgData name="Jorge Costa" userId="6f0ed375-7d90-4a84-93f2-03ffaae48f30" providerId="ADAL" clId="{03E48706-ED28-4E40-9B7D-8C36692CE558}" dt="2023-09-20T13:03:36.326" v="32842"/>
          <ac:spMkLst>
            <pc:docMk/>
            <pc:sldMk cId="2708255378" sldId="2147375774"/>
            <ac:spMk id="188" creationId="{E48AC5B8-CEC3-5AFB-DF82-802AA0E82062}"/>
          </ac:spMkLst>
        </pc:spChg>
        <pc:spChg chg="mod ord">
          <ac:chgData name="Jorge Costa" userId="6f0ed375-7d90-4a84-93f2-03ffaae48f30" providerId="ADAL" clId="{03E48706-ED28-4E40-9B7D-8C36692CE558}" dt="2023-09-20T13:03:36.326" v="32844"/>
          <ac:spMkLst>
            <pc:docMk/>
            <pc:sldMk cId="2708255378" sldId="2147375774"/>
            <ac:spMk id="189" creationId="{D52E4797-4B09-7463-D8EB-AA654DD393B7}"/>
          </ac:spMkLst>
        </pc:spChg>
        <pc:spChg chg="mod ord">
          <ac:chgData name="Jorge Costa" userId="6f0ed375-7d90-4a84-93f2-03ffaae48f30" providerId="ADAL" clId="{03E48706-ED28-4E40-9B7D-8C36692CE558}" dt="2023-09-20T13:03:36.326" v="32846"/>
          <ac:spMkLst>
            <pc:docMk/>
            <pc:sldMk cId="2708255378" sldId="2147375774"/>
            <ac:spMk id="190" creationId="{7F991285-7C60-907E-42E9-96C72670AE63}"/>
          </ac:spMkLst>
        </pc:spChg>
        <pc:spChg chg="mod ord">
          <ac:chgData name="Jorge Costa" userId="6f0ed375-7d90-4a84-93f2-03ffaae48f30" providerId="ADAL" clId="{03E48706-ED28-4E40-9B7D-8C36692CE558}" dt="2023-09-20T13:03:36.326" v="32848"/>
          <ac:spMkLst>
            <pc:docMk/>
            <pc:sldMk cId="2708255378" sldId="2147375774"/>
            <ac:spMk id="191" creationId="{91809D6B-AE80-CA50-B0E1-F83AF89DF3F5}"/>
          </ac:spMkLst>
        </pc:spChg>
        <pc:spChg chg="mod ord">
          <ac:chgData name="Jorge Costa" userId="6f0ed375-7d90-4a84-93f2-03ffaae48f30" providerId="ADAL" clId="{03E48706-ED28-4E40-9B7D-8C36692CE558}" dt="2023-09-20T13:03:36.326" v="32850"/>
          <ac:spMkLst>
            <pc:docMk/>
            <pc:sldMk cId="2708255378" sldId="2147375774"/>
            <ac:spMk id="192" creationId="{0238D74E-DCE0-1DBE-F7E4-ABE1FCA46D6A}"/>
          </ac:spMkLst>
        </pc:spChg>
        <pc:spChg chg="mod ord">
          <ac:chgData name="Jorge Costa" userId="6f0ed375-7d90-4a84-93f2-03ffaae48f30" providerId="ADAL" clId="{03E48706-ED28-4E40-9B7D-8C36692CE558}" dt="2023-09-20T13:03:36.326" v="32852"/>
          <ac:spMkLst>
            <pc:docMk/>
            <pc:sldMk cId="2708255378" sldId="2147375774"/>
            <ac:spMk id="193" creationId="{58FBB731-B830-EFEA-2DDE-62475EE9125E}"/>
          </ac:spMkLst>
        </pc:spChg>
        <pc:spChg chg="mod ord">
          <ac:chgData name="Jorge Costa" userId="6f0ed375-7d90-4a84-93f2-03ffaae48f30" providerId="ADAL" clId="{03E48706-ED28-4E40-9B7D-8C36692CE558}" dt="2023-09-20T13:03:36.326" v="32854"/>
          <ac:spMkLst>
            <pc:docMk/>
            <pc:sldMk cId="2708255378" sldId="2147375774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09-20T13:07:20.216" v="34537" actId="6549"/>
          <ac:spMkLst>
            <pc:docMk/>
            <pc:sldMk cId="2708255378" sldId="2147375774"/>
            <ac:spMk id="195" creationId="{F131440F-02C5-68E7-D763-68D844A9F18E}"/>
          </ac:spMkLst>
        </pc:spChg>
        <pc:spChg chg="mod">
          <ac:chgData name="Jorge Costa" userId="6f0ed375-7d90-4a84-93f2-03ffaae48f30" providerId="ADAL" clId="{03E48706-ED28-4E40-9B7D-8C36692CE558}" dt="2023-09-20T14:51:08.628" v="83459"/>
          <ac:spMkLst>
            <pc:docMk/>
            <pc:sldMk cId="2708255378" sldId="2147375774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2:50:16.993" v="16838"/>
          <ac:spMkLst>
            <pc:docMk/>
            <pc:sldMk cId="2708255378" sldId="2147375774"/>
            <ac:spMk id="201" creationId="{CE7DF05B-A89F-8CFB-AECF-76805365231D}"/>
          </ac:spMkLst>
        </pc:spChg>
        <pc:spChg chg="mod">
          <ac:chgData name="Jorge Costa" userId="6f0ed375-7d90-4a84-93f2-03ffaae48f30" providerId="ADAL" clId="{03E48706-ED28-4E40-9B7D-8C36692CE558}" dt="2023-09-20T14:51:08.628" v="83460"/>
          <ac:spMkLst>
            <pc:docMk/>
            <pc:sldMk cId="2708255378" sldId="2147375774"/>
            <ac:spMk id="202" creationId="{4988A60A-1757-98EB-D487-0DA0CC9344D3}"/>
          </ac:spMkLst>
        </pc:spChg>
        <pc:spChg chg="mod">
          <ac:chgData name="Jorge Costa" userId="6f0ed375-7d90-4a84-93f2-03ffaae48f30" providerId="ADAL" clId="{03E48706-ED28-4E40-9B7D-8C36692CE558}" dt="2023-09-20T14:51:08.615" v="83434"/>
          <ac:spMkLst>
            <pc:docMk/>
            <pc:sldMk cId="2708255378" sldId="2147375774"/>
            <ac:spMk id="203" creationId="{518E449A-4EFB-B24D-8000-A69686CD8650}"/>
          </ac:spMkLst>
        </pc:spChg>
        <pc:spChg chg="add del mod modVis">
          <ac:chgData name="Jorge Costa" userId="6f0ed375-7d90-4a84-93f2-03ffaae48f30" providerId="ADAL" clId="{03E48706-ED28-4E40-9B7D-8C36692CE558}" dt="2023-09-20T12:56:02.941" v="18856"/>
          <ac:spMkLst>
            <pc:docMk/>
            <pc:sldMk cId="2708255378" sldId="2147375774"/>
            <ac:spMk id="206" creationId="{0EB018DB-FF59-3F7E-03A7-4E93530E81C8}"/>
          </ac:spMkLst>
        </pc:spChg>
        <pc:spChg chg="add del mod modVis">
          <ac:chgData name="Jorge Costa" userId="6f0ed375-7d90-4a84-93f2-03ffaae48f30" providerId="ADAL" clId="{03E48706-ED28-4E40-9B7D-8C36692CE558}" dt="2023-09-20T12:57:07.097" v="19511"/>
          <ac:spMkLst>
            <pc:docMk/>
            <pc:sldMk cId="2708255378" sldId="2147375774"/>
            <ac:spMk id="207" creationId="{51B3E3F5-BF92-621F-6779-C9BF743352E5}"/>
          </ac:spMkLst>
        </pc:spChg>
        <pc:spChg chg="add mod ord replST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08" creationId="{BF13CD65-0840-1925-11C3-F4FBE4B724C6}"/>
          </ac:spMkLst>
        </pc:spChg>
        <pc:spChg chg="add del mod modVis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09" creationId="{6E210E44-383E-D368-476D-5839012A4DFA}"/>
          </ac:spMkLst>
        </pc:spChg>
        <pc:spChg chg="add del mod ord replST delST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10" creationId="{56277CCA-B0A0-F334-37D6-2E26B67C16AB}"/>
          </ac:spMkLst>
        </pc:spChg>
        <pc:spChg chg="add mod ord rep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3" creationId="{FD09BD96-1FE4-3208-2E7C-DD6AD84675F6}"/>
          </ac:spMkLst>
        </pc:spChg>
        <pc:spChg chg="add del mod modVis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4" creationId="{A1321B21-B525-D361-A038-CED04B6CF4FD}"/>
          </ac:spMkLst>
        </pc:spChg>
        <pc:spChg chg="add del mod replST de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5" creationId="{1E308B44-1215-DED8-9278-DEFE90611F03}"/>
          </ac:spMkLst>
        </pc:spChg>
        <pc:spChg chg="add del mod ord replST de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6" creationId="{4CB4BDD0-E595-5B37-42B7-52B93EFC99EF}"/>
          </ac:spMkLst>
        </pc:spChg>
        <pc:spChg chg="add del mod modVis">
          <ac:chgData name="Jorge Costa" userId="6f0ed375-7d90-4a84-93f2-03ffaae48f30" providerId="ADAL" clId="{03E48706-ED28-4E40-9B7D-8C36692CE558}" dt="2023-09-20T13:00:06.507" v="24117"/>
          <ac:spMkLst>
            <pc:docMk/>
            <pc:sldMk cId="2708255378" sldId="2147375774"/>
            <ac:spMk id="217" creationId="{02B45421-BC5F-FB26-2837-120FBE7ABE9A}"/>
          </ac:spMkLst>
        </pc:spChg>
        <pc:spChg chg="add mod ord replST">
          <ac:chgData name="Jorge Costa" userId="6f0ed375-7d90-4a84-93f2-03ffaae48f30" providerId="ADAL" clId="{03E48706-ED28-4E40-9B7D-8C36692CE558}" dt="2023-09-20T14:51:08.563" v="83399" actId="948"/>
          <ac:spMkLst>
            <pc:docMk/>
            <pc:sldMk cId="2708255378" sldId="2147375774"/>
            <ac:spMk id="218" creationId="{79D6D7FE-B1F1-AA27-64EE-AF749B104A05}"/>
          </ac:spMkLst>
        </pc:spChg>
        <pc:spChg chg="add del mod modVis">
          <ac:chgData name="Jorge Costa" userId="6f0ed375-7d90-4a84-93f2-03ffaae48f30" providerId="ADAL" clId="{03E48706-ED28-4E40-9B7D-8C36692CE558}" dt="2023-09-20T13:00:12.697" v="25025"/>
          <ac:spMkLst>
            <pc:docMk/>
            <pc:sldMk cId="2708255378" sldId="2147375774"/>
            <ac:spMk id="219" creationId="{3B025749-FE6C-F951-D294-A395EE003A08}"/>
          </ac:spMkLst>
        </pc:spChg>
        <pc:spChg chg="add mod ord replST">
          <ac:chgData name="Jorge Costa" userId="6f0ed375-7d90-4a84-93f2-03ffaae48f30" providerId="ADAL" clId="{03E48706-ED28-4E40-9B7D-8C36692CE558}" dt="2023-09-20T14:50:53.893" v="82284"/>
          <ac:spMkLst>
            <pc:docMk/>
            <pc:sldMk cId="2708255378" sldId="2147375774"/>
            <ac:spMk id="220" creationId="{6D78526E-2B10-88C3-6768-7BDAB7F75759}"/>
          </ac:spMkLst>
        </pc:spChg>
        <pc:spChg chg="add mod ord replST">
          <ac:chgData name="Jorge Costa" userId="6f0ed375-7d90-4a84-93f2-03ffaae48f30" providerId="ADAL" clId="{03E48706-ED28-4E40-9B7D-8C36692CE558}" dt="2023-09-20T14:51:08.563" v="83402" actId="948"/>
          <ac:spMkLst>
            <pc:docMk/>
            <pc:sldMk cId="2708255378" sldId="2147375774"/>
            <ac:spMk id="224" creationId="{DD73329F-9C72-487D-A4B2-CD5125678B41}"/>
          </ac:spMkLst>
        </pc:spChg>
        <pc:spChg chg="add del mod modVis">
          <ac:chgData name="Jorge Costa" userId="6f0ed375-7d90-4a84-93f2-03ffaae48f30" providerId="ADAL" clId="{03E48706-ED28-4E40-9B7D-8C36692CE558}" dt="2023-09-20T13:02:07.348" v="29032"/>
          <ac:spMkLst>
            <pc:docMk/>
            <pc:sldMk cId="2708255378" sldId="2147375774"/>
            <ac:spMk id="225" creationId="{CB61D6A7-FEDF-9286-7FCA-11033E164AF7}"/>
          </ac:spMkLst>
        </pc:spChg>
        <pc:spChg chg="add mod replST">
          <ac:chgData name="Jorge Costa" userId="6f0ed375-7d90-4a84-93f2-03ffaae48f30" providerId="ADAL" clId="{03E48706-ED28-4E40-9B7D-8C36692CE558}" dt="2023-09-20T14:50:53.876" v="82192"/>
          <ac:spMkLst>
            <pc:docMk/>
            <pc:sldMk cId="2708255378" sldId="2147375774"/>
            <ac:spMk id="226" creationId="{DBCE3456-F5D8-C668-41BC-178A87217E67}"/>
          </ac:spMkLst>
        </pc:spChg>
        <pc:spChg chg="add mod ord replST">
          <ac:chgData name="Jorge Costa" userId="6f0ed375-7d90-4a84-93f2-03ffaae48f30" providerId="ADAL" clId="{03E48706-ED28-4E40-9B7D-8C36692CE558}" dt="2023-09-20T14:50:53.876" v="82200"/>
          <ac:spMkLst>
            <pc:docMk/>
            <pc:sldMk cId="2708255378" sldId="2147375774"/>
            <ac:spMk id="227" creationId="{6D4821E5-F133-CFDE-9AC1-101958F0C048}"/>
          </ac:spMkLst>
        </pc:spChg>
        <pc:spChg chg="add mod ord replST">
          <ac:chgData name="Jorge Costa" userId="6f0ed375-7d90-4a84-93f2-03ffaae48f30" providerId="ADAL" clId="{03E48706-ED28-4E40-9B7D-8C36692CE558}" dt="2023-09-20T14:50:53.963" v="82580"/>
          <ac:spMkLst>
            <pc:docMk/>
            <pc:sldMk cId="2708255378" sldId="2147375774"/>
            <ac:spMk id="228" creationId="{D66CAD60-6DC1-2BC1-F0D1-6A99429942FA}"/>
          </ac:spMkLst>
        </pc:spChg>
        <pc:spChg chg="add del mod modVis">
          <ac:chgData name="Jorge Costa" userId="6f0ed375-7d90-4a84-93f2-03ffaae48f30" providerId="ADAL" clId="{03E48706-ED28-4E40-9B7D-8C36692CE558}" dt="2023-09-20T13:02:17.406" v="29740"/>
          <ac:spMkLst>
            <pc:docMk/>
            <pc:sldMk cId="2708255378" sldId="2147375774"/>
            <ac:spMk id="229" creationId="{164E7AEC-288E-E19D-94E8-32B4E4435E01}"/>
          </ac:spMkLst>
        </pc:spChg>
        <pc:spChg chg="add del mod modVis">
          <ac:chgData name="Jorge Costa" userId="6f0ed375-7d90-4a84-93f2-03ffaae48f30" providerId="ADAL" clId="{03E48706-ED28-4E40-9B7D-8C36692CE558}" dt="2023-09-20T13:02:21.859" v="29914"/>
          <ac:spMkLst>
            <pc:docMk/>
            <pc:sldMk cId="2708255378" sldId="2147375774"/>
            <ac:spMk id="230" creationId="{2735D5A0-B305-2635-3389-D6B6886BAC46}"/>
          </ac:spMkLst>
        </pc:spChg>
        <pc:spChg chg="add del mod modVis">
          <ac:chgData name="Jorge Costa" userId="6f0ed375-7d90-4a84-93f2-03ffaae48f30" providerId="ADAL" clId="{03E48706-ED28-4E40-9B7D-8C36692CE558}" dt="2023-09-20T13:02:27.564" v="30052"/>
          <ac:spMkLst>
            <pc:docMk/>
            <pc:sldMk cId="2708255378" sldId="2147375774"/>
            <ac:spMk id="231" creationId="{E675D8C7-B22A-0716-D951-ECBAC651DA7B}"/>
          </ac:spMkLst>
        </pc:spChg>
        <pc:spChg chg="add del mod modVis">
          <ac:chgData name="Jorge Costa" userId="6f0ed375-7d90-4a84-93f2-03ffaae48f30" providerId="ADAL" clId="{03E48706-ED28-4E40-9B7D-8C36692CE558}" dt="2023-09-20T13:02:28.396" v="30190"/>
          <ac:spMkLst>
            <pc:docMk/>
            <pc:sldMk cId="2708255378" sldId="2147375774"/>
            <ac:spMk id="232" creationId="{26F6EBC8-0352-225B-47CD-FF5F05633AAB}"/>
          </ac:spMkLst>
        </pc:spChg>
        <pc:spChg chg="add del mod modVis">
          <ac:chgData name="Jorge Costa" userId="6f0ed375-7d90-4a84-93f2-03ffaae48f30" providerId="ADAL" clId="{03E48706-ED28-4E40-9B7D-8C36692CE558}" dt="2023-09-20T13:02:31.246" v="30337"/>
          <ac:spMkLst>
            <pc:docMk/>
            <pc:sldMk cId="2708255378" sldId="2147375774"/>
            <ac:spMk id="233" creationId="{6BA382EA-BEF7-664D-5497-417C06D7CD29}"/>
          </ac:spMkLst>
        </pc:spChg>
        <pc:spChg chg="add del mod modVis">
          <ac:chgData name="Jorge Costa" userId="6f0ed375-7d90-4a84-93f2-03ffaae48f30" providerId="ADAL" clId="{03E48706-ED28-4E40-9B7D-8C36692CE558}" dt="2023-09-20T13:02:32.910" v="30478"/>
          <ac:spMkLst>
            <pc:docMk/>
            <pc:sldMk cId="2708255378" sldId="2147375774"/>
            <ac:spMk id="234" creationId="{E81E8C83-A793-7465-E898-0CDB01C4A34E}"/>
          </ac:spMkLst>
        </pc:spChg>
        <pc:spChg chg="add del mod modVis">
          <ac:chgData name="Jorge Costa" userId="6f0ed375-7d90-4a84-93f2-03ffaae48f30" providerId="ADAL" clId="{03E48706-ED28-4E40-9B7D-8C36692CE558}" dt="2023-09-20T13:05:51.006" v="34345"/>
          <ac:spMkLst>
            <pc:docMk/>
            <pc:sldMk cId="2708255378" sldId="2147375774"/>
            <ac:spMk id="235" creationId="{4E84EF9E-371D-FDA5-9C43-3D860FF8F38A}"/>
          </ac:spMkLst>
        </pc:spChg>
        <pc:graphicFrameChg chg="mod">
          <ac:chgData name="Jorge Costa" userId="6f0ed375-7d90-4a84-93f2-03ffaae48f30" providerId="ADAL" clId="{03E48706-ED28-4E40-9B7D-8C36692CE558}" dt="2023-09-20T14:51:08.663" v="83464"/>
          <ac:graphicFrameMkLst>
            <pc:docMk/>
            <pc:sldMk cId="2708255378" sldId="2147375774"/>
            <ac:graphicFrameMk id="6" creationId="{63A4715E-B7F9-BA75-94AB-B57C471D4624}"/>
          </ac:graphicFrameMkLst>
        </pc:graphicFrameChg>
        <pc:cxnChg chg="add mod ord replST">
          <ac:chgData name="Jorge Costa" userId="6f0ed375-7d90-4a84-93f2-03ffaae48f30" providerId="ADAL" clId="{03E48706-ED28-4E40-9B7D-8C36692CE558}" dt="2023-09-20T14:50:54.053" v="82751"/>
          <ac:cxnSpMkLst>
            <pc:docMk/>
            <pc:sldMk cId="2708255378" sldId="2147375774"/>
            <ac:cxnSpMk id="5" creationId="{6504CC63-F13D-FAF3-98A4-33563190F00C}"/>
          </ac:cxnSpMkLst>
        </pc:cxnChg>
        <pc:cxnChg chg="mod ord">
          <ac:chgData name="Jorge Costa" userId="6f0ed375-7d90-4a84-93f2-03ffaae48f30" providerId="ADAL" clId="{03E48706-ED28-4E40-9B7D-8C36692CE558}" dt="2023-09-20T13:03:36.255" v="32550"/>
          <ac:cxnSpMkLst>
            <pc:docMk/>
            <pc:sldMk cId="2708255378" sldId="2147375774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09-20T13:03:36.256" v="32556"/>
          <ac:cxnSpMkLst>
            <pc:docMk/>
            <pc:sldMk cId="2708255378" sldId="2147375774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09-20T14:50:54.063" v="82775"/>
          <ac:cxnSpMkLst>
            <pc:docMk/>
            <pc:sldMk cId="2708255378" sldId="2147375774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09-20T14:50:54.016" v="82683"/>
          <ac:cxnSpMkLst>
            <pc:docMk/>
            <pc:sldMk cId="2708255378" sldId="2147375774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09-20T14:50:54.018" v="82687"/>
          <ac:cxnSpMkLst>
            <pc:docMk/>
            <pc:sldMk cId="2708255378" sldId="2147375774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09-20T13:03:36.266" v="32604"/>
          <ac:cxnSpMkLst>
            <pc:docMk/>
            <pc:sldMk cId="2708255378" sldId="2147375774"/>
            <ac:cxnSpMk id="43" creationId="{AF42AE0D-0743-992B-260A-1B6BE271DEE7}"/>
          </ac:cxnSpMkLst>
        </pc:cxnChg>
        <pc:cxnChg chg="mod ord">
          <ac:chgData name="Jorge Costa" userId="6f0ed375-7d90-4a84-93f2-03ffaae48f30" providerId="ADAL" clId="{03E48706-ED28-4E40-9B7D-8C36692CE558}" dt="2023-09-20T14:50:54.063" v="82763"/>
          <ac:cxnSpMkLst>
            <pc:docMk/>
            <pc:sldMk cId="2708255378" sldId="2147375774"/>
            <ac:cxnSpMk id="44" creationId="{0B135372-732E-DA76-84AF-B2789D614433}"/>
          </ac:cxnSpMkLst>
        </pc:cxnChg>
        <pc:cxnChg chg="mod ord">
          <ac:chgData name="Jorge Costa" userId="6f0ed375-7d90-4a84-93f2-03ffaae48f30" providerId="ADAL" clId="{03E48706-ED28-4E40-9B7D-8C36692CE558}" dt="2023-09-20T14:50:54.063" v="82759"/>
          <ac:cxnSpMkLst>
            <pc:docMk/>
            <pc:sldMk cId="2708255378" sldId="2147375774"/>
            <ac:cxnSpMk id="45" creationId="{2B604994-2F72-5783-B135-3DE03E924AB7}"/>
          </ac:cxnSpMkLst>
        </pc:cxnChg>
        <pc:cxnChg chg="mod ord">
          <ac:chgData name="Jorge Costa" userId="6f0ed375-7d90-4a84-93f2-03ffaae48f30" providerId="ADAL" clId="{03E48706-ED28-4E40-9B7D-8C36692CE558}" dt="2023-09-20T14:50:54.020" v="82691"/>
          <ac:cxnSpMkLst>
            <pc:docMk/>
            <pc:sldMk cId="2708255378" sldId="2147375774"/>
            <ac:cxnSpMk id="46" creationId="{0F214D55-44D7-8E04-EFAF-7F9716E0FB37}"/>
          </ac:cxnSpMkLst>
        </pc:cxnChg>
        <pc:cxnChg chg="del mod ord">
          <ac:chgData name="Jorge Costa" userId="6f0ed375-7d90-4a84-93f2-03ffaae48f30" providerId="ADAL" clId="{03E48706-ED28-4E40-9B7D-8C36692CE558}" dt="2023-09-20T13:03:33.166" v="31750"/>
          <ac:cxnSpMkLst>
            <pc:docMk/>
            <pc:sldMk cId="2708255378" sldId="2147375774"/>
            <ac:cxnSpMk id="47" creationId="{7505FE11-D34B-B941-3AB2-3F7E051AD8AA}"/>
          </ac:cxnSpMkLst>
        </pc:cxnChg>
        <pc:cxnChg chg="del mod ord">
          <ac:chgData name="Jorge Costa" userId="6f0ed375-7d90-4a84-93f2-03ffaae48f30" providerId="ADAL" clId="{03E48706-ED28-4E40-9B7D-8C36692CE558}" dt="2023-09-20T13:03:55.536" v="33099"/>
          <ac:cxnSpMkLst>
            <pc:docMk/>
            <pc:sldMk cId="2708255378" sldId="2147375774"/>
            <ac:cxnSpMk id="48" creationId="{25D691FB-B14C-5BA3-8345-AC0360F440EE}"/>
          </ac:cxnSpMkLst>
        </pc:cxnChg>
        <pc:cxnChg chg="mod ord">
          <ac:chgData name="Jorge Costa" userId="6f0ed375-7d90-4a84-93f2-03ffaae48f30" providerId="ADAL" clId="{03E48706-ED28-4E40-9B7D-8C36692CE558}" dt="2023-09-20T14:50:54.053" v="82755"/>
          <ac:cxnSpMkLst>
            <pc:docMk/>
            <pc:sldMk cId="2708255378" sldId="2147375774"/>
            <ac:cxnSpMk id="49" creationId="{7FB809C4-8450-0C2E-1E41-454F4FB77D02}"/>
          </ac:cxnSpMkLst>
        </pc:cxnChg>
        <pc:cxnChg chg="mod ord">
          <ac:chgData name="Jorge Costa" userId="6f0ed375-7d90-4a84-93f2-03ffaae48f30" providerId="ADAL" clId="{03E48706-ED28-4E40-9B7D-8C36692CE558}" dt="2023-09-20T14:50:54.023" v="82695"/>
          <ac:cxnSpMkLst>
            <pc:docMk/>
            <pc:sldMk cId="2708255378" sldId="2147375774"/>
            <ac:cxnSpMk id="50" creationId="{DC487231-5187-6D2F-3E79-9AA7DA3000AE}"/>
          </ac:cxnSpMkLst>
        </pc:cxnChg>
        <pc:cxnChg chg="mod ord">
          <ac:chgData name="Jorge Costa" userId="6f0ed375-7d90-4a84-93f2-03ffaae48f30" providerId="ADAL" clId="{03E48706-ED28-4E40-9B7D-8C36692CE558}" dt="2023-09-20T14:50:54.053" v="82747"/>
          <ac:cxnSpMkLst>
            <pc:docMk/>
            <pc:sldMk cId="2708255378" sldId="2147375774"/>
            <ac:cxnSpMk id="51" creationId="{84A1BDB7-E2EF-0F37-9117-287DD5162DF0}"/>
          </ac:cxnSpMkLst>
        </pc:cxnChg>
        <pc:cxnChg chg="mod ord">
          <ac:chgData name="Jorge Costa" userId="6f0ed375-7d90-4a84-93f2-03ffaae48f30" providerId="ADAL" clId="{03E48706-ED28-4E40-9B7D-8C36692CE558}" dt="2023-09-20T14:50:54.044" v="82739"/>
          <ac:cxnSpMkLst>
            <pc:docMk/>
            <pc:sldMk cId="2708255378" sldId="2147375774"/>
            <ac:cxnSpMk id="52" creationId="{70021605-9CF2-EA1D-6142-4C6113D8A843}"/>
          </ac:cxnSpMkLst>
        </pc:cxnChg>
        <pc:cxnChg chg="mod ord">
          <ac:chgData name="Jorge Costa" userId="6f0ed375-7d90-4a84-93f2-03ffaae48f30" providerId="ADAL" clId="{03E48706-ED28-4E40-9B7D-8C36692CE558}" dt="2023-09-20T14:50:54.026" v="82699"/>
          <ac:cxnSpMkLst>
            <pc:docMk/>
            <pc:sldMk cId="2708255378" sldId="2147375774"/>
            <ac:cxnSpMk id="53" creationId="{FDDA2859-AE28-97E3-C1DF-629C79C7BD24}"/>
          </ac:cxnSpMkLst>
        </pc:cxnChg>
        <pc:cxnChg chg="mod ord">
          <ac:chgData name="Jorge Costa" userId="6f0ed375-7d90-4a84-93f2-03ffaae48f30" providerId="ADAL" clId="{03E48706-ED28-4E40-9B7D-8C36692CE558}" dt="2023-09-20T14:50:54.044" v="82735"/>
          <ac:cxnSpMkLst>
            <pc:docMk/>
            <pc:sldMk cId="2708255378" sldId="2147375774"/>
            <ac:cxnSpMk id="54" creationId="{681D39C6-E78C-B22E-C0E4-05CC6BCE5C52}"/>
          </ac:cxnSpMkLst>
        </pc:cxnChg>
        <pc:cxnChg chg="mod ord">
          <ac:chgData name="Jorge Costa" userId="6f0ed375-7d90-4a84-93f2-03ffaae48f30" providerId="ADAL" clId="{03E48706-ED28-4E40-9B7D-8C36692CE558}" dt="2023-09-20T14:50:54.044" v="82731"/>
          <ac:cxnSpMkLst>
            <pc:docMk/>
            <pc:sldMk cId="2708255378" sldId="2147375774"/>
            <ac:cxnSpMk id="55" creationId="{77B335D0-7DDC-B4D7-B3F5-3822EB0F38A2}"/>
          </ac:cxnSpMkLst>
        </pc:cxnChg>
        <pc:cxnChg chg="mod ord">
          <ac:chgData name="Jorge Costa" userId="6f0ed375-7d90-4a84-93f2-03ffaae48f30" providerId="ADAL" clId="{03E48706-ED28-4E40-9B7D-8C36692CE558}" dt="2023-09-20T14:50:54.028" v="82703"/>
          <ac:cxnSpMkLst>
            <pc:docMk/>
            <pc:sldMk cId="2708255378" sldId="2147375774"/>
            <ac:cxnSpMk id="56" creationId="{6FCEF9BB-7F35-67FD-9A81-4EBE68273A56}"/>
          </ac:cxnSpMkLst>
        </pc:cxnChg>
        <pc:cxnChg chg="mod ord">
          <ac:chgData name="Jorge Costa" userId="6f0ed375-7d90-4a84-93f2-03ffaae48f30" providerId="ADAL" clId="{03E48706-ED28-4E40-9B7D-8C36692CE558}" dt="2023-09-20T14:50:54.042" v="82727"/>
          <ac:cxnSpMkLst>
            <pc:docMk/>
            <pc:sldMk cId="2708255378" sldId="2147375774"/>
            <ac:cxnSpMk id="57" creationId="{9BDBAB7E-A548-9578-83E3-9675C2FDC2DE}"/>
          </ac:cxnSpMkLst>
        </pc:cxnChg>
        <pc:cxnChg chg="mod ord">
          <ac:chgData name="Jorge Costa" userId="6f0ed375-7d90-4a84-93f2-03ffaae48f30" providerId="ADAL" clId="{03E48706-ED28-4E40-9B7D-8C36692CE558}" dt="2023-09-20T14:50:54.039" v="82723"/>
          <ac:cxnSpMkLst>
            <pc:docMk/>
            <pc:sldMk cId="2708255378" sldId="2147375774"/>
            <ac:cxnSpMk id="58" creationId="{95B333FB-033D-4138-6EBA-C92E1814B934}"/>
          </ac:cxnSpMkLst>
        </pc:cxnChg>
        <pc:cxnChg chg="mod ord">
          <ac:chgData name="Jorge Costa" userId="6f0ed375-7d90-4a84-93f2-03ffaae48f30" providerId="ADAL" clId="{03E48706-ED28-4E40-9B7D-8C36692CE558}" dt="2023-09-20T14:50:54.037" v="82719"/>
          <ac:cxnSpMkLst>
            <pc:docMk/>
            <pc:sldMk cId="2708255378" sldId="2147375774"/>
            <ac:cxnSpMk id="59" creationId="{6D5B5B52-89C7-527F-4C7D-FBCB440B3E2A}"/>
          </ac:cxnSpMkLst>
        </pc:cxnChg>
        <pc:cxnChg chg="mod ord">
          <ac:chgData name="Jorge Costa" userId="6f0ed375-7d90-4a84-93f2-03ffaae48f30" providerId="ADAL" clId="{03E48706-ED28-4E40-9B7D-8C36692CE558}" dt="2023-09-20T14:50:54.031" v="82707"/>
          <ac:cxnSpMkLst>
            <pc:docMk/>
            <pc:sldMk cId="2708255378" sldId="2147375774"/>
            <ac:cxnSpMk id="60" creationId="{C34732A6-1B02-B505-8991-C1BA9D92675C}"/>
          </ac:cxnSpMkLst>
        </pc:cxnChg>
        <pc:cxnChg chg="mod ord">
          <ac:chgData name="Jorge Costa" userId="6f0ed375-7d90-4a84-93f2-03ffaae48f30" providerId="ADAL" clId="{03E48706-ED28-4E40-9B7D-8C36692CE558}" dt="2023-09-20T14:50:54.035" v="82715"/>
          <ac:cxnSpMkLst>
            <pc:docMk/>
            <pc:sldMk cId="2708255378" sldId="2147375774"/>
            <ac:cxnSpMk id="61" creationId="{8B7FC1E6-2655-F7C3-874F-2BB0E0EF4A8F}"/>
          </ac:cxnSpMkLst>
        </pc:cxnChg>
        <pc:cxnChg chg="mod ord">
          <ac:chgData name="Jorge Costa" userId="6f0ed375-7d90-4a84-93f2-03ffaae48f30" providerId="ADAL" clId="{03E48706-ED28-4E40-9B7D-8C36692CE558}" dt="2023-09-20T14:50:54.033" v="82711"/>
          <ac:cxnSpMkLst>
            <pc:docMk/>
            <pc:sldMk cId="2708255378" sldId="2147375774"/>
            <ac:cxnSpMk id="62" creationId="{3CE05907-5DC3-537B-A67D-75C5CC0B8908}"/>
          </ac:cxnSpMkLst>
        </pc:cxnChg>
        <pc:cxnChg chg="mod ord">
          <ac:chgData name="Jorge Costa" userId="6f0ed375-7d90-4a84-93f2-03ffaae48f30" providerId="ADAL" clId="{03E48706-ED28-4E40-9B7D-8C36692CE558}" dt="2023-09-20T13:03:36.266" v="32610"/>
          <ac:cxnSpMkLst>
            <pc:docMk/>
            <pc:sldMk cId="2708255378" sldId="2147375774"/>
            <ac:cxnSpMk id="63" creationId="{DBB0C9EE-5462-F388-CF30-9F9796B3431F}"/>
          </ac:cxnSpMkLst>
        </pc:cxnChg>
        <pc:cxnChg chg="mod ord">
          <ac:chgData name="Jorge Costa" userId="6f0ed375-7d90-4a84-93f2-03ffaae48f30" providerId="ADAL" clId="{03E48706-ED28-4E40-9B7D-8C36692CE558}" dt="2023-09-20T13:03:36.266" v="32608"/>
          <ac:cxnSpMkLst>
            <pc:docMk/>
            <pc:sldMk cId="2708255378" sldId="2147375774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09-20T13:03:36.266" v="32606"/>
          <ac:cxnSpMkLst>
            <pc:docMk/>
            <pc:sldMk cId="2708255378" sldId="2147375774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09-20T13:03:36.266" v="32612"/>
          <ac:cxnSpMkLst>
            <pc:docMk/>
            <pc:sldMk cId="2708255378" sldId="2147375774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09-20T13:03:36.266" v="32614"/>
          <ac:cxnSpMkLst>
            <pc:docMk/>
            <pc:sldMk cId="2708255378" sldId="2147375774"/>
            <ac:cxnSpMk id="67" creationId="{659848EF-7FEF-63B8-07E4-FFDCFA186EED}"/>
          </ac:cxnSpMkLst>
        </pc:cxnChg>
        <pc:cxnChg chg="mod ord">
          <ac:chgData name="Jorge Costa" userId="6f0ed375-7d90-4a84-93f2-03ffaae48f30" providerId="ADAL" clId="{03E48706-ED28-4E40-9B7D-8C36692CE558}" dt="2023-09-20T14:50:53.883" v="82228"/>
          <ac:cxnSpMkLst>
            <pc:docMk/>
            <pc:sldMk cId="2708255378" sldId="2147375774"/>
            <ac:cxnSpMk id="68" creationId="{D98D1BA2-5F19-9549-4DC6-0ACF35F22E05}"/>
          </ac:cxnSpMkLst>
        </pc:cxnChg>
        <pc:cxnChg chg="mod ord">
          <ac:chgData name="Jorge Costa" userId="6f0ed375-7d90-4a84-93f2-03ffaae48f30" providerId="ADAL" clId="{03E48706-ED28-4E40-9B7D-8C36692CE558}" dt="2023-09-20T14:50:53.876" v="82212"/>
          <ac:cxnSpMkLst>
            <pc:docMk/>
            <pc:sldMk cId="2708255378" sldId="2147375774"/>
            <ac:cxnSpMk id="69" creationId="{C94E4CA7-E097-D8A3-4F6A-0338AFD2F2EF}"/>
          </ac:cxnSpMkLst>
        </pc:cxnChg>
        <pc:cxnChg chg="mod ord">
          <ac:chgData name="Jorge Costa" userId="6f0ed375-7d90-4a84-93f2-03ffaae48f30" providerId="ADAL" clId="{03E48706-ED28-4E40-9B7D-8C36692CE558}" dt="2023-09-20T14:50:53.893" v="82304"/>
          <ac:cxnSpMkLst>
            <pc:docMk/>
            <pc:sldMk cId="2708255378" sldId="2147375774"/>
            <ac:cxnSpMk id="70" creationId="{A0D52725-A9A9-80D8-1CA3-EE7655755914}"/>
          </ac:cxnSpMkLst>
        </pc:cxnChg>
        <pc:cxnChg chg="mod ord">
          <ac:chgData name="Jorge Costa" userId="6f0ed375-7d90-4a84-93f2-03ffaae48f30" providerId="ADAL" clId="{03E48706-ED28-4E40-9B7D-8C36692CE558}" dt="2023-09-20T14:50:53.883" v="82244"/>
          <ac:cxnSpMkLst>
            <pc:docMk/>
            <pc:sldMk cId="2708255378" sldId="2147375774"/>
            <ac:cxnSpMk id="71" creationId="{D395F62F-72A2-EF64-5D31-4F98663928A5}"/>
          </ac:cxnSpMkLst>
        </pc:cxnChg>
        <pc:cxnChg chg="mod ord">
          <ac:chgData name="Jorge Costa" userId="6f0ed375-7d90-4a84-93f2-03ffaae48f30" providerId="ADAL" clId="{03E48706-ED28-4E40-9B7D-8C36692CE558}" dt="2023-09-20T14:50:53.890" v="82260"/>
          <ac:cxnSpMkLst>
            <pc:docMk/>
            <pc:sldMk cId="2708255378" sldId="2147375774"/>
            <ac:cxnSpMk id="72" creationId="{E10473D5-C978-2F0B-950B-06B2D9C3F995}"/>
          </ac:cxnSpMkLst>
        </pc:cxnChg>
        <pc:cxnChg chg="mod ord">
          <ac:chgData name="Jorge Costa" userId="6f0ed375-7d90-4a84-93f2-03ffaae48f30" providerId="ADAL" clId="{03E48706-ED28-4E40-9B7D-8C36692CE558}" dt="2023-09-20T14:50:53.893" v="82272"/>
          <ac:cxnSpMkLst>
            <pc:docMk/>
            <pc:sldMk cId="2708255378" sldId="2147375774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09-20T14:50:53.903" v="82320"/>
          <ac:cxnSpMkLst>
            <pc:docMk/>
            <pc:sldMk cId="2708255378" sldId="2147375774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09-20T13:03:36.270" v="32632"/>
          <ac:cxnSpMkLst>
            <pc:docMk/>
            <pc:sldMk cId="2708255378" sldId="2147375774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09-20T14:50:53.890" v="82268"/>
          <ac:cxnSpMkLst>
            <pc:docMk/>
            <pc:sldMk cId="2708255378" sldId="2147375774"/>
            <ac:cxnSpMk id="104" creationId="{16C09043-B53A-B25A-9CB0-26205C63905B}"/>
          </ac:cxnSpMkLst>
        </pc:cxnChg>
        <pc:cxnChg chg="del">
          <ac:chgData name="Jorge Costa" userId="6f0ed375-7d90-4a84-93f2-03ffaae48f30" providerId="ADAL" clId="{03E48706-ED28-4E40-9B7D-8C36692CE558}" dt="2023-09-20T12:48:09.540" v="13302"/>
          <ac:cxnSpMkLst>
            <pc:docMk/>
            <pc:sldMk cId="2708255378" sldId="2147375774"/>
            <ac:cxnSpMk id="119" creationId="{99BB4090-06EF-3EFF-DA31-EEEEAB2C807C}"/>
          </ac:cxnSpMkLst>
        </pc:cxnChg>
        <pc:cxnChg chg="mod ord">
          <ac:chgData name="Jorge Costa" userId="6f0ed375-7d90-4a84-93f2-03ffaae48f30" providerId="ADAL" clId="{03E48706-ED28-4E40-9B7D-8C36692CE558}" dt="2023-09-20T14:50:53.883" v="82252"/>
          <ac:cxnSpMkLst>
            <pc:docMk/>
            <pc:sldMk cId="2708255378" sldId="2147375774"/>
            <ac:cxnSpMk id="120" creationId="{41A02CEE-6AB9-111A-684E-7581AA05B93B}"/>
          </ac:cxnSpMkLst>
        </pc:cxnChg>
        <pc:cxnChg chg="mod ord">
          <ac:chgData name="Jorge Costa" userId="6f0ed375-7d90-4a84-93f2-03ffaae48f30" providerId="ADAL" clId="{03E48706-ED28-4E40-9B7D-8C36692CE558}" dt="2023-09-20T14:50:53.883" v="82236"/>
          <ac:cxnSpMkLst>
            <pc:docMk/>
            <pc:sldMk cId="2708255378" sldId="2147375774"/>
            <ac:cxnSpMk id="121" creationId="{488C494D-EB25-8D06-DD8B-83AF9C768D32}"/>
          </ac:cxnSpMkLst>
        </pc:cxnChg>
        <pc:cxnChg chg="mod ord">
          <ac:chgData name="Jorge Costa" userId="6f0ed375-7d90-4a84-93f2-03ffaae48f30" providerId="ADAL" clId="{03E48706-ED28-4E40-9B7D-8C36692CE558}" dt="2023-09-20T14:50:53.876" v="82220"/>
          <ac:cxnSpMkLst>
            <pc:docMk/>
            <pc:sldMk cId="2708255378" sldId="2147375774"/>
            <ac:cxnSpMk id="122" creationId="{2E570AF1-7C1C-7CD0-2A6F-A1391AC02B03}"/>
          </ac:cxnSpMkLst>
        </pc:cxnChg>
        <pc:cxnChg chg="del">
          <ac:chgData name="Jorge Costa" userId="6f0ed375-7d90-4a84-93f2-03ffaae48f30" providerId="ADAL" clId="{03E48706-ED28-4E40-9B7D-8C36692CE558}" dt="2023-09-20T12:48:09.540" v="13288"/>
          <ac:cxnSpMkLst>
            <pc:docMk/>
            <pc:sldMk cId="2708255378" sldId="2147375774"/>
            <ac:cxnSpMk id="123" creationId="{134D82FB-CDCE-B147-F847-13D4BED18BD4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312"/>
          <ac:cxnSpMkLst>
            <pc:docMk/>
            <pc:sldMk cId="2708255378" sldId="2147375774"/>
            <ac:cxnSpMk id="196" creationId="{1A073AD5-6596-0B0C-9E98-B20F985271B5}"/>
          </ac:cxnSpMkLst>
        </pc:cxnChg>
        <pc:cxnChg chg="add mod ord replST">
          <ac:chgData name="Jorge Costa" userId="6f0ed375-7d90-4a84-93f2-03ffaae48f30" providerId="ADAL" clId="{03E48706-ED28-4E40-9B7D-8C36692CE558}" dt="2023-09-20T14:50:53.903" v="82328"/>
          <ac:cxnSpMkLst>
            <pc:docMk/>
            <pc:sldMk cId="2708255378" sldId="2147375774"/>
            <ac:cxnSpMk id="197" creationId="{062D04BF-3AA7-EA00-A46A-C2D90B55F912}"/>
          </ac:cxnSpMkLst>
        </pc:cxnChg>
        <pc:cxnChg chg="add mod ord replST">
          <ac:chgData name="Jorge Costa" userId="6f0ed375-7d90-4a84-93f2-03ffaae48f30" providerId="ADAL" clId="{03E48706-ED28-4E40-9B7D-8C36692CE558}" dt="2023-09-20T14:50:54.049" v="82743"/>
          <ac:cxnSpMkLst>
            <pc:docMk/>
            <pc:sldMk cId="2708255378" sldId="2147375774"/>
            <ac:cxnSpMk id="198" creationId="{2F0A99A8-34B7-1483-4A04-3E3C9274B770}"/>
          </ac:cxnSpMkLst>
        </pc:cxnChg>
        <pc:cxnChg chg="add del mod ord replST">
          <ac:chgData name="Jorge Costa" userId="6f0ed375-7d90-4a84-93f2-03ffaae48f30" providerId="ADAL" clId="{03E48706-ED28-4E40-9B7D-8C36692CE558}" dt="2023-09-20T12:50:16.959" v="16830"/>
          <ac:cxnSpMkLst>
            <pc:docMk/>
            <pc:sldMk cId="2708255378" sldId="2147375774"/>
            <ac:cxnSpMk id="199" creationId="{81D720DA-FA2D-F4FA-2333-D4BD84628BF6}"/>
          </ac:cxnSpMkLst>
        </pc:cxnChg>
        <pc:cxnChg chg="mod ord">
          <ac:chgData name="Jorge Costa" userId="6f0ed375-7d90-4a84-93f2-03ffaae48f30" providerId="ADAL" clId="{03E48706-ED28-4E40-9B7D-8C36692CE558}" dt="2023-09-20T14:50:54.063" v="82767"/>
          <ac:cxnSpMkLst>
            <pc:docMk/>
            <pc:sldMk cId="2708255378" sldId="2147375774"/>
            <ac:cxnSpMk id="204" creationId="{1DA6B509-842A-5FDC-26BE-FB78FBBA2F9F}"/>
          </ac:cxnSpMkLst>
        </pc:cxnChg>
        <pc:cxnChg chg="mod ord">
          <ac:chgData name="Jorge Costa" userId="6f0ed375-7d90-4a84-93f2-03ffaae48f30" providerId="ADAL" clId="{03E48706-ED28-4E40-9B7D-8C36692CE558}" dt="2023-09-20T14:50:54.063" v="82771"/>
          <ac:cxnSpMkLst>
            <pc:docMk/>
            <pc:sldMk cId="2708255378" sldId="2147375774"/>
            <ac:cxnSpMk id="205" creationId="{620130A9-F3DA-7212-1B9E-6A10F6B27AB3}"/>
          </ac:cxnSpMkLst>
        </pc:cxnChg>
        <pc:cxnChg chg="add del mod ord replST delST">
          <ac:chgData name="Jorge Costa" userId="6f0ed375-7d90-4a84-93f2-03ffaae48f30" providerId="ADAL" clId="{03E48706-ED28-4E40-9B7D-8C36692CE558}" dt="2023-09-20T12:59:33.279" v="21481"/>
          <ac:cxnSpMkLst>
            <pc:docMk/>
            <pc:sldMk cId="2708255378" sldId="2147375774"/>
            <ac:cxnSpMk id="211" creationId="{4B349348-8861-AA8C-5369-53718ECDF115}"/>
          </ac:cxnSpMkLst>
        </pc:cxnChg>
        <pc:cxnChg chg="add del mod ord replST delST">
          <ac:chgData name="Jorge Costa" userId="6f0ed375-7d90-4a84-93f2-03ffaae48f30" providerId="ADAL" clId="{03E48706-ED28-4E40-9B7D-8C36692CE558}" dt="2023-09-20T12:59:33.279" v="21481"/>
          <ac:cxnSpMkLst>
            <pc:docMk/>
            <pc:sldMk cId="2708255378" sldId="2147375774"/>
            <ac:cxnSpMk id="212" creationId="{2C421982-0F0E-E37F-090E-55D70162399B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88"/>
          <ac:cxnSpMkLst>
            <pc:docMk/>
            <pc:sldMk cId="2708255378" sldId="2147375774"/>
            <ac:cxnSpMk id="221" creationId="{6A3544F9-FD8F-A97C-E4E2-4A96ACC8B185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80"/>
          <ac:cxnSpMkLst>
            <pc:docMk/>
            <pc:sldMk cId="2708255378" sldId="2147375774"/>
            <ac:cxnSpMk id="222" creationId="{5C7CF921-DA8A-7E5B-07FA-EC186491E992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96"/>
          <ac:cxnSpMkLst>
            <pc:docMk/>
            <pc:sldMk cId="2708255378" sldId="2147375774"/>
            <ac:cxnSpMk id="223" creationId="{FE1446B3-621F-62D6-697A-C61CAE6177B3}"/>
          </ac:cxnSpMkLst>
        </pc:cxnChg>
      </pc:sldChg>
      <pc:sldChg chg="addSp delSp modSp add del mod ord">
        <pc:chgData name="Jorge Costa" userId="6f0ed375-7d90-4a84-93f2-03ffaae48f30" providerId="ADAL" clId="{03E48706-ED28-4E40-9B7D-8C36692CE558}" dt="2023-10-04T12:02:30.366" v="100736" actId="47"/>
        <pc:sldMkLst>
          <pc:docMk/>
          <pc:sldMk cId="169091185" sldId="2147375775"/>
        </pc:sldMkLst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09-28T06:47:37.711" v="85866"/>
          <ac:spMkLst>
            <pc:docMk/>
            <pc:sldMk cId="169091185" sldId="2147375775"/>
            <ac:spMk id="3" creationId="{D7130CF3-DB1E-14D7-F069-CEBFDB80B4D9}"/>
          </ac:spMkLst>
        </pc:spChg>
        <pc:spChg chg="add del mod modVis">
          <ac:chgData name="Jorge Costa" userId="6f0ed375-7d90-4a84-93f2-03ffaae48f30" providerId="ADAL" clId="{03E48706-ED28-4E40-9B7D-8C36692CE558}" dt="2023-09-20T13:09:45.735" v="34740"/>
          <ac:spMkLst>
            <pc:docMk/>
            <pc:sldMk cId="169091185" sldId="2147375775"/>
            <ac:spMk id="3" creationId="{E62A413F-7391-9284-8573-AB6DB0541E40}"/>
          </ac:spMkLst>
        </pc:spChg>
        <pc:spChg chg="mod ord">
          <ac:chgData name="Jorge Costa" userId="6f0ed375-7d90-4a84-93f2-03ffaae48f30" providerId="ADAL" clId="{03E48706-ED28-4E40-9B7D-8C36692CE558}" dt="2023-09-28T07:08:21.559" v="98900"/>
          <ac:spMkLst>
            <pc:docMk/>
            <pc:sldMk cId="169091185" sldId="2147375775"/>
            <ac:spMk id="4" creationId="{86B112D9-9E4A-0DDF-DF01-494C86A59AE4}"/>
          </ac:spMkLst>
        </pc:spChg>
        <pc:spChg chg="del">
          <ac:chgData name="Jorge Costa" userId="6f0ed375-7d90-4a84-93f2-03ffaae48f30" providerId="ADAL" clId="{03E48706-ED28-4E40-9B7D-8C36692CE558}" dt="2023-09-20T13:12:04.979" v="35571"/>
          <ac:spMkLst>
            <pc:docMk/>
            <pc:sldMk cId="169091185" sldId="2147375775"/>
            <ac:spMk id="7" creationId="{245666E8-02FD-0C74-B44E-7AE3767F444D}"/>
          </ac:spMkLst>
        </pc:spChg>
        <pc:spChg chg="del mod">
          <ac:chgData name="Jorge Costa" userId="6f0ed375-7d90-4a84-93f2-03ffaae48f30" providerId="ADAL" clId="{03E48706-ED28-4E40-9B7D-8C36692CE558}" dt="2023-09-20T13:12:04.950" v="35485"/>
          <ac:spMkLst>
            <pc:docMk/>
            <pc:sldMk cId="169091185" sldId="2147375775"/>
            <ac:spMk id="8" creationId="{832E0ADE-9505-5D0F-B156-BD6693FC8E17}"/>
          </ac:spMkLst>
        </pc:spChg>
        <pc:spChg chg="del mod">
          <ac:chgData name="Jorge Costa" userId="6f0ed375-7d90-4a84-93f2-03ffaae48f30" providerId="ADAL" clId="{03E48706-ED28-4E40-9B7D-8C36692CE558}" dt="2023-09-20T13:12:04.950" v="35484"/>
          <ac:spMkLst>
            <pc:docMk/>
            <pc:sldMk cId="169091185" sldId="2147375775"/>
            <ac:spMk id="9" creationId="{A97F4F57-B717-B7A7-9E96-FC6466097F66}"/>
          </ac:spMkLst>
        </pc:spChg>
        <pc:spChg chg="add mod replST">
          <ac:chgData name="Jorge Costa" userId="6f0ed375-7d90-4a84-93f2-03ffaae48f30" providerId="ADAL" clId="{03E48706-ED28-4E40-9B7D-8C36692CE558}" dt="2023-09-28T11:11:04.917" v="99800"/>
          <ac:spMkLst>
            <pc:docMk/>
            <pc:sldMk cId="169091185" sldId="2147375775"/>
            <ac:spMk id="9" creationId="{B9BA9B15-354E-EEFB-98E4-9CEC2B93A847}"/>
          </ac:spMkLst>
        </pc:spChg>
        <pc:spChg chg="add del mod modVis">
          <ac:chgData name="Jorge Costa" userId="6f0ed375-7d90-4a84-93f2-03ffaae48f30" providerId="ADAL" clId="{03E48706-ED28-4E40-9B7D-8C36692CE558}" dt="2023-09-28T06:48:06.327" v="86796"/>
          <ac:spMkLst>
            <pc:docMk/>
            <pc:sldMk cId="169091185" sldId="2147375775"/>
            <ac:spMk id="10" creationId="{3527F4BF-01C1-4A05-6D62-13C3199B12F0}"/>
          </ac:spMkLst>
        </pc:spChg>
        <pc:spChg chg="del mod">
          <ac:chgData name="Jorge Costa" userId="6f0ed375-7d90-4a84-93f2-03ffaae48f30" providerId="ADAL" clId="{03E48706-ED28-4E40-9B7D-8C36692CE558}" dt="2023-09-20T13:12:04.950" v="35483"/>
          <ac:spMkLst>
            <pc:docMk/>
            <pc:sldMk cId="169091185" sldId="2147375775"/>
            <ac:spMk id="10" creationId="{94881DCA-8412-9387-A67E-3E995AB3B33C}"/>
          </ac:spMkLst>
        </pc:spChg>
        <pc:spChg chg="mod">
          <ac:chgData name="Jorge Costa" userId="6f0ed375-7d90-4a84-93f2-03ffaae48f30" providerId="ADAL" clId="{03E48706-ED28-4E40-9B7D-8C36692CE558}" dt="2023-09-28T11:11:04.911" v="99788"/>
          <ac:spMkLst>
            <pc:docMk/>
            <pc:sldMk cId="169091185" sldId="2147375775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09-28T11:11:04.911" v="99789"/>
          <ac:spMkLst>
            <pc:docMk/>
            <pc:sldMk cId="169091185" sldId="2147375775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09-28T11:11:04.912" v="99790"/>
          <ac:spMkLst>
            <pc:docMk/>
            <pc:sldMk cId="169091185" sldId="2147375775"/>
            <ac:spMk id="13" creationId="{48FFC757-7EC8-F223-3013-164FA4CF0A3A}"/>
          </ac:spMkLst>
        </pc:spChg>
        <pc:spChg chg="del mod">
          <ac:chgData name="Jorge Costa" userId="6f0ed375-7d90-4a84-93f2-03ffaae48f30" providerId="ADAL" clId="{03E48706-ED28-4E40-9B7D-8C36692CE558}" dt="2023-09-20T13:12:04.950" v="35482"/>
          <ac:spMkLst>
            <pc:docMk/>
            <pc:sldMk cId="169091185" sldId="2147375775"/>
            <ac:spMk id="14" creationId="{E3FE1A85-8F2C-8880-6526-F9E3DFFC37E5}"/>
          </ac:spMkLst>
        </pc:spChg>
        <pc:spChg chg="add del mod modVis">
          <ac:chgData name="Jorge Costa" userId="6f0ed375-7d90-4a84-93f2-03ffaae48f30" providerId="ADAL" clId="{03E48706-ED28-4E40-9B7D-8C36692CE558}" dt="2023-09-28T06:49:35.076" v="90343"/>
          <ac:spMkLst>
            <pc:docMk/>
            <pc:sldMk cId="169091185" sldId="2147375775"/>
            <ac:spMk id="15" creationId="{54461CFD-6DA9-1AA3-6C32-9FC337809E7B}"/>
          </ac:spMkLst>
        </pc:spChg>
        <pc:spChg chg="del mod">
          <ac:chgData name="Jorge Costa" userId="6f0ed375-7d90-4a84-93f2-03ffaae48f30" providerId="ADAL" clId="{03E48706-ED28-4E40-9B7D-8C36692CE558}" dt="2023-09-20T13:12:04.950" v="35481"/>
          <ac:spMkLst>
            <pc:docMk/>
            <pc:sldMk cId="169091185" sldId="2147375775"/>
            <ac:spMk id="15" creationId="{F7F0A6F3-D95B-497E-F355-A2E6FE2F5E05}"/>
          </ac:spMkLst>
        </pc:spChg>
        <pc:spChg chg="add del mod modVis">
          <ac:chgData name="Jorge Costa" userId="6f0ed375-7d90-4a84-93f2-03ffaae48f30" providerId="ADAL" clId="{03E48706-ED28-4E40-9B7D-8C36692CE558}" dt="2023-09-28T06:49:59.555" v="91593"/>
          <ac:spMkLst>
            <pc:docMk/>
            <pc:sldMk cId="169091185" sldId="2147375775"/>
            <ac:spMk id="16" creationId="{9F90F516-4DA2-C95D-9A3D-998AC7041D46}"/>
          </ac:spMkLst>
        </pc:spChg>
        <pc:spChg chg="del mod">
          <ac:chgData name="Jorge Costa" userId="6f0ed375-7d90-4a84-93f2-03ffaae48f30" providerId="ADAL" clId="{03E48706-ED28-4E40-9B7D-8C36692CE558}" dt="2023-09-20T13:12:04.950" v="35480"/>
          <ac:spMkLst>
            <pc:docMk/>
            <pc:sldMk cId="169091185" sldId="2147375775"/>
            <ac:spMk id="16" creationId="{B202D854-EE6A-1020-17AE-89F7BF9E7CF5}"/>
          </ac:spMkLst>
        </pc:spChg>
        <pc:spChg chg="add del mod modVis">
          <ac:chgData name="Jorge Costa" userId="6f0ed375-7d90-4a84-93f2-03ffaae48f30" providerId="ADAL" clId="{03E48706-ED28-4E40-9B7D-8C36692CE558}" dt="2023-09-28T06:51:51.143" v="93461"/>
          <ac:spMkLst>
            <pc:docMk/>
            <pc:sldMk cId="169091185" sldId="2147375775"/>
            <ac:spMk id="17" creationId="{56C4CA01-F2DD-2D08-D95F-9640B1243885}"/>
          </ac:spMkLst>
        </pc:spChg>
        <pc:spChg chg="del mod">
          <ac:chgData name="Jorge Costa" userId="6f0ed375-7d90-4a84-93f2-03ffaae48f30" providerId="ADAL" clId="{03E48706-ED28-4E40-9B7D-8C36692CE558}" dt="2023-09-20T13:12:04.950" v="35479"/>
          <ac:spMkLst>
            <pc:docMk/>
            <pc:sldMk cId="169091185" sldId="2147375775"/>
            <ac:spMk id="17" creationId="{AD639961-5275-8B0E-26E0-3913707989C9}"/>
          </ac:spMkLst>
        </pc:spChg>
        <pc:spChg chg="add del mod modVis">
          <ac:chgData name="Jorge Costa" userId="6f0ed375-7d90-4a84-93f2-03ffaae48f30" providerId="ADAL" clId="{03E48706-ED28-4E40-9B7D-8C36692CE558}" dt="2023-09-28T06:51:57.070" v="93842"/>
          <ac:spMkLst>
            <pc:docMk/>
            <pc:sldMk cId="169091185" sldId="2147375775"/>
            <ac:spMk id="18" creationId="{2FEF9689-7925-2896-C159-70D9404D4404}"/>
          </ac:spMkLst>
        </pc:spChg>
        <pc:spChg chg="del mod">
          <ac:chgData name="Jorge Costa" userId="6f0ed375-7d90-4a84-93f2-03ffaae48f30" providerId="ADAL" clId="{03E48706-ED28-4E40-9B7D-8C36692CE558}" dt="2023-09-20T13:12:04.950" v="35478"/>
          <ac:spMkLst>
            <pc:docMk/>
            <pc:sldMk cId="169091185" sldId="2147375775"/>
            <ac:spMk id="18" creationId="{F464795A-315D-0935-4DBA-BB133BE83627}"/>
          </ac:spMkLst>
        </pc:spChg>
        <pc:spChg chg="del mod">
          <ac:chgData name="Jorge Costa" userId="6f0ed375-7d90-4a84-93f2-03ffaae48f30" providerId="ADAL" clId="{03E48706-ED28-4E40-9B7D-8C36692CE558}" dt="2023-09-20T13:12:04.950" v="35477"/>
          <ac:spMkLst>
            <pc:docMk/>
            <pc:sldMk cId="169091185" sldId="2147375775"/>
            <ac:spMk id="19" creationId="{387E8560-ACF0-CED7-6098-1E11BD02C2D3}"/>
          </ac:spMkLst>
        </pc:spChg>
        <pc:spChg chg="add del mod modVis">
          <ac:chgData name="Jorge Costa" userId="6f0ed375-7d90-4a84-93f2-03ffaae48f30" providerId="ADAL" clId="{03E48706-ED28-4E40-9B7D-8C36692CE558}" dt="2023-09-28T06:53:56.693" v="94445"/>
          <ac:spMkLst>
            <pc:docMk/>
            <pc:sldMk cId="169091185" sldId="2147375775"/>
            <ac:spMk id="19" creationId="{BF510133-52CE-F562-31FC-58B5E2926204}"/>
          </ac:spMkLst>
        </pc:spChg>
        <pc:spChg chg="add del mod modVis">
          <ac:chgData name="Jorge Costa" userId="6f0ed375-7d90-4a84-93f2-03ffaae48f30" providerId="ADAL" clId="{03E48706-ED28-4E40-9B7D-8C36692CE558}" dt="2023-09-28T06:54:37.812" v="95273"/>
          <ac:spMkLst>
            <pc:docMk/>
            <pc:sldMk cId="169091185" sldId="2147375775"/>
            <ac:spMk id="20" creationId="{12200DAA-8114-319B-9C1E-8B9B409C61AC}"/>
          </ac:spMkLst>
        </pc:spChg>
        <pc:spChg chg="del mod">
          <ac:chgData name="Jorge Costa" userId="6f0ed375-7d90-4a84-93f2-03ffaae48f30" providerId="ADAL" clId="{03E48706-ED28-4E40-9B7D-8C36692CE558}" dt="2023-09-20T13:12:04.950" v="35476"/>
          <ac:spMkLst>
            <pc:docMk/>
            <pc:sldMk cId="169091185" sldId="2147375775"/>
            <ac:spMk id="20" creationId="{2C31C18D-601D-8E44-49E3-0F047CA7D993}"/>
          </ac:spMkLst>
        </pc:spChg>
        <pc:spChg chg="del mod">
          <ac:chgData name="Jorge Costa" userId="6f0ed375-7d90-4a84-93f2-03ffaae48f30" providerId="ADAL" clId="{03E48706-ED28-4E40-9B7D-8C36692CE558}" dt="2023-09-20T13:12:04.950" v="35475"/>
          <ac:spMkLst>
            <pc:docMk/>
            <pc:sldMk cId="169091185" sldId="2147375775"/>
            <ac:spMk id="21" creationId="{28352F4C-49B9-737A-A389-FD4D5067825F}"/>
          </ac:spMkLst>
        </pc:spChg>
        <pc:spChg chg="add del mod modVis">
          <ac:chgData name="Jorge Costa" userId="6f0ed375-7d90-4a84-93f2-03ffaae48f30" providerId="ADAL" clId="{03E48706-ED28-4E40-9B7D-8C36692CE558}" dt="2023-09-28T06:55:07.219" v="95601"/>
          <ac:spMkLst>
            <pc:docMk/>
            <pc:sldMk cId="169091185" sldId="2147375775"/>
            <ac:spMk id="21" creationId="{42FEC022-C295-65F9-79C9-F6868773D638}"/>
          </ac:spMkLst>
        </pc:spChg>
        <pc:spChg chg="del mod">
          <ac:chgData name="Jorge Costa" userId="6f0ed375-7d90-4a84-93f2-03ffaae48f30" providerId="ADAL" clId="{03E48706-ED28-4E40-9B7D-8C36692CE558}" dt="2023-09-20T13:12:04.950" v="35474"/>
          <ac:spMkLst>
            <pc:docMk/>
            <pc:sldMk cId="169091185" sldId="2147375775"/>
            <ac:spMk id="22" creationId="{0C501449-003D-ABD7-D654-6511EAABAE58}"/>
          </ac:spMkLst>
        </pc:spChg>
        <pc:spChg chg="add mod ord">
          <ac:chgData name="Jorge Costa" userId="6f0ed375-7d90-4a84-93f2-03ffaae48f30" providerId="ADAL" clId="{03E48706-ED28-4E40-9B7D-8C36692CE558}" dt="2023-09-28T07:08:21.609" v="99076"/>
          <ac:spMkLst>
            <pc:docMk/>
            <pc:sldMk cId="169091185" sldId="2147375775"/>
            <ac:spMk id="22" creationId="{65D548A3-47C4-BA95-1B26-DA6668F53161}"/>
          </ac:spMkLst>
        </pc:spChg>
        <pc:spChg chg="del mod">
          <ac:chgData name="Jorge Costa" userId="6f0ed375-7d90-4a84-93f2-03ffaae48f30" providerId="ADAL" clId="{03E48706-ED28-4E40-9B7D-8C36692CE558}" dt="2023-09-20T13:12:04.950" v="35473"/>
          <ac:spMkLst>
            <pc:docMk/>
            <pc:sldMk cId="169091185" sldId="2147375775"/>
            <ac:spMk id="23" creationId="{89A1D609-5C19-16AD-C89A-573C94A2E3CC}"/>
          </ac:spMkLst>
        </pc:spChg>
        <pc:spChg chg="add mod ord">
          <ac:chgData name="Jorge Costa" userId="6f0ed375-7d90-4a84-93f2-03ffaae48f30" providerId="ADAL" clId="{03E48706-ED28-4E40-9B7D-8C36692CE558}" dt="2023-09-28T07:08:21.610" v="99078"/>
          <ac:spMkLst>
            <pc:docMk/>
            <pc:sldMk cId="169091185" sldId="2147375775"/>
            <ac:spMk id="23" creationId="{B80F50FE-910E-100C-2ED3-D741EC398416}"/>
          </ac:spMkLst>
        </pc:spChg>
        <pc:spChg chg="add mod ord">
          <ac:chgData name="Jorge Costa" userId="6f0ed375-7d90-4a84-93f2-03ffaae48f30" providerId="ADAL" clId="{03E48706-ED28-4E40-9B7D-8C36692CE558}" dt="2023-09-28T07:08:21.610" v="99080"/>
          <ac:spMkLst>
            <pc:docMk/>
            <pc:sldMk cId="169091185" sldId="2147375775"/>
            <ac:spMk id="24" creationId="{623C54AA-70A9-C28E-DDCE-9FA6F9B982D5}"/>
          </ac:spMkLst>
        </pc:spChg>
        <pc:spChg chg="del mod">
          <ac:chgData name="Jorge Costa" userId="6f0ed375-7d90-4a84-93f2-03ffaae48f30" providerId="ADAL" clId="{03E48706-ED28-4E40-9B7D-8C36692CE558}" dt="2023-09-20T13:12:04.950" v="35472"/>
          <ac:spMkLst>
            <pc:docMk/>
            <pc:sldMk cId="169091185" sldId="2147375775"/>
            <ac:spMk id="24" creationId="{DD158A05-7D46-2D8E-5314-B3BE2ED2D4D8}"/>
          </ac:spMkLst>
        </pc:spChg>
        <pc:spChg chg="del mod">
          <ac:chgData name="Jorge Costa" userId="6f0ed375-7d90-4a84-93f2-03ffaae48f30" providerId="ADAL" clId="{03E48706-ED28-4E40-9B7D-8C36692CE558}" dt="2023-09-20T13:12:04.950" v="35471"/>
          <ac:spMkLst>
            <pc:docMk/>
            <pc:sldMk cId="169091185" sldId="2147375775"/>
            <ac:spMk id="25" creationId="{B2F36601-03D4-5E88-6403-09E52A36BC3C}"/>
          </ac:spMkLst>
        </pc:spChg>
        <pc:spChg chg="add mod ord">
          <ac:chgData name="Jorge Costa" userId="6f0ed375-7d90-4a84-93f2-03ffaae48f30" providerId="ADAL" clId="{03E48706-ED28-4E40-9B7D-8C36692CE558}" dt="2023-09-28T07:08:21.611" v="99082"/>
          <ac:spMkLst>
            <pc:docMk/>
            <pc:sldMk cId="169091185" sldId="2147375775"/>
            <ac:spMk id="25" creationId="{B4A14BB6-630A-6EA5-EDE1-5FDBD5A119AD}"/>
          </ac:spMkLst>
        </pc:spChg>
        <pc:spChg chg="add mod ord">
          <ac:chgData name="Jorge Costa" userId="6f0ed375-7d90-4a84-93f2-03ffaae48f30" providerId="ADAL" clId="{03E48706-ED28-4E40-9B7D-8C36692CE558}" dt="2023-09-28T07:08:21.611" v="99084"/>
          <ac:spMkLst>
            <pc:docMk/>
            <pc:sldMk cId="169091185" sldId="2147375775"/>
            <ac:spMk id="26" creationId="{6C0937AE-D77D-2301-82CC-4FEDDE959D28}"/>
          </ac:spMkLst>
        </pc:spChg>
        <pc:spChg chg="del mod">
          <ac:chgData name="Jorge Costa" userId="6f0ed375-7d90-4a84-93f2-03ffaae48f30" providerId="ADAL" clId="{03E48706-ED28-4E40-9B7D-8C36692CE558}" dt="2023-09-20T13:35:29.529" v="62980"/>
          <ac:spMkLst>
            <pc:docMk/>
            <pc:sldMk cId="169091185" sldId="2147375775"/>
            <ac:spMk id="26" creationId="{FE6341D3-07F5-C81A-6DB1-811B8839DD48}"/>
          </ac:spMkLst>
        </pc:spChg>
        <pc:spChg chg="mod">
          <ac:chgData name="Jorge Costa" userId="6f0ed375-7d90-4a84-93f2-03ffaae48f30" providerId="ADAL" clId="{03E48706-ED28-4E40-9B7D-8C36692CE558}" dt="2023-09-28T11:11:04.912" v="99791"/>
          <ac:spMkLst>
            <pc:docMk/>
            <pc:sldMk cId="169091185" sldId="2147375775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09-28T11:11:04.913" v="99792"/>
          <ac:spMkLst>
            <pc:docMk/>
            <pc:sldMk cId="169091185" sldId="2147375775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09-28T11:11:04.913" v="99793"/>
          <ac:spMkLst>
            <pc:docMk/>
            <pc:sldMk cId="169091185" sldId="2147375775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09-28T11:11:04.914" v="99794"/>
          <ac:spMkLst>
            <pc:docMk/>
            <pc:sldMk cId="169091185" sldId="2147375775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09-28T11:11:04.914" v="99795"/>
          <ac:spMkLst>
            <pc:docMk/>
            <pc:sldMk cId="169091185" sldId="2147375775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09-28T11:11:04.915" v="99796"/>
          <ac:spMkLst>
            <pc:docMk/>
            <pc:sldMk cId="169091185" sldId="2147375775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09-28T11:11:04.915" v="99797"/>
          <ac:spMkLst>
            <pc:docMk/>
            <pc:sldMk cId="169091185" sldId="2147375775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09-28T11:11:04.916" v="99798"/>
          <ac:spMkLst>
            <pc:docMk/>
            <pc:sldMk cId="169091185" sldId="2147375775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09-28T11:11:04.916" v="99799"/>
          <ac:spMkLst>
            <pc:docMk/>
            <pc:sldMk cId="169091185" sldId="2147375775"/>
            <ac:spMk id="35" creationId="{EEF6EB0C-177E-9BFB-6BFF-0CA68710799F}"/>
          </ac:spMkLst>
        </pc:spChg>
        <pc:spChg chg="del mod">
          <ac:chgData name="Jorge Costa" userId="6f0ed375-7d90-4a84-93f2-03ffaae48f30" providerId="ADAL" clId="{03E48706-ED28-4E40-9B7D-8C36692CE558}" dt="2023-09-20T13:22:54.312" v="53791"/>
          <ac:spMkLst>
            <pc:docMk/>
            <pc:sldMk cId="169091185" sldId="2147375775"/>
            <ac:spMk id="36" creationId="{B5B6D605-349A-6084-9928-1BC09354AC68}"/>
          </ac:spMkLst>
        </pc:spChg>
        <pc:spChg chg="add mod ord">
          <ac:chgData name="Jorge Costa" userId="6f0ed375-7d90-4a84-93f2-03ffaae48f30" providerId="ADAL" clId="{03E48706-ED28-4E40-9B7D-8C36692CE558}" dt="2023-09-28T07:08:21.612" v="99086"/>
          <ac:spMkLst>
            <pc:docMk/>
            <pc:sldMk cId="169091185" sldId="2147375775"/>
            <ac:spMk id="36" creationId="{C7BE119C-D6B5-ACD1-6D46-163A2406E415}"/>
          </ac:spMkLst>
        </pc:spChg>
        <pc:spChg chg="add mod ord">
          <ac:chgData name="Jorge Costa" userId="6f0ed375-7d90-4a84-93f2-03ffaae48f30" providerId="ADAL" clId="{03E48706-ED28-4E40-9B7D-8C36692CE558}" dt="2023-09-28T07:08:21.612" v="99088"/>
          <ac:spMkLst>
            <pc:docMk/>
            <pc:sldMk cId="169091185" sldId="2147375775"/>
            <ac:spMk id="37" creationId="{8F8A812D-0C52-07DA-6856-058296E1F7A8}"/>
          </ac:spMkLst>
        </pc:spChg>
        <pc:spChg chg="del mod">
          <ac:chgData name="Jorge Costa" userId="6f0ed375-7d90-4a84-93f2-03ffaae48f30" providerId="ADAL" clId="{03E48706-ED28-4E40-9B7D-8C36692CE558}" dt="2023-09-20T13:22:10.746" v="53257"/>
          <ac:spMkLst>
            <pc:docMk/>
            <pc:sldMk cId="169091185" sldId="2147375775"/>
            <ac:spMk id="37" creationId="{A5B8BB60-1706-9635-187B-89B4D443A786}"/>
          </ac:spMkLst>
        </pc:spChg>
        <pc:spChg chg="add mod ord">
          <ac:chgData name="Jorge Costa" userId="6f0ed375-7d90-4a84-93f2-03ffaae48f30" providerId="ADAL" clId="{03E48706-ED28-4E40-9B7D-8C36692CE558}" dt="2023-09-28T07:08:21.613" v="99090"/>
          <ac:spMkLst>
            <pc:docMk/>
            <pc:sldMk cId="169091185" sldId="2147375775"/>
            <ac:spMk id="44" creationId="{4AB766B7-0E6C-C687-E570-C05ECF362FE6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45" creationId="{205C4B26-7BE9-7610-472A-6B9C94C590BA}"/>
          </ac:spMkLst>
        </pc:spChg>
        <pc:spChg chg="add del mod modVis">
          <ac:chgData name="Jorge Costa" userId="6f0ed375-7d90-4a84-93f2-03ffaae48f30" providerId="ADAL" clId="{03E48706-ED28-4E40-9B7D-8C36692CE558}" dt="2023-09-28T06:56:14.023" v="96151"/>
          <ac:spMkLst>
            <pc:docMk/>
            <pc:sldMk cId="169091185" sldId="2147375775"/>
            <ac:spMk id="47" creationId="{B66DBCB1-9A00-571B-4086-E8108CFAE8DB}"/>
          </ac:spMkLst>
        </pc:spChg>
        <pc:spChg chg="add del mod modVis">
          <ac:chgData name="Jorge Costa" userId="6f0ed375-7d90-4a84-93f2-03ffaae48f30" providerId="ADAL" clId="{03E48706-ED28-4E40-9B7D-8C36692CE558}" dt="2023-09-20T13:09:47.945" v="34797"/>
          <ac:spMkLst>
            <pc:docMk/>
            <pc:sldMk cId="169091185" sldId="2147375775"/>
            <ac:spMk id="47" creationId="{BD52D77E-B35B-8BAE-3151-40C825D11A92}"/>
          </ac:spMkLst>
        </pc:spChg>
        <pc:spChg chg="add mod ord replST">
          <ac:chgData name="Jorge Costa" userId="6f0ed375-7d90-4a84-93f2-03ffaae48f30" providerId="ADAL" clId="{03E48706-ED28-4E40-9B7D-8C36692CE558}" dt="2023-09-28T07:08:21.588" v="99006"/>
          <ac:spMkLst>
            <pc:docMk/>
            <pc:sldMk cId="169091185" sldId="2147375775"/>
            <ac:spMk id="48" creationId="{6FF69AF1-D5AD-AEC7-C75D-E895A3E559B5}"/>
          </ac:spMkLst>
        </pc:spChg>
        <pc:spChg chg="add del mod modVis">
          <ac:chgData name="Jorge Costa" userId="6f0ed375-7d90-4a84-93f2-03ffaae48f30" providerId="ADAL" clId="{03E48706-ED28-4E40-9B7D-8C36692CE558}" dt="2023-09-20T13:09:49.016" v="34847"/>
          <ac:spMkLst>
            <pc:docMk/>
            <pc:sldMk cId="169091185" sldId="2147375775"/>
            <ac:spMk id="48" creationId="{AC01E5B2-8FC6-FD88-97F1-62DDE807E3E1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49" creationId="{FB2A9EC2-F8F7-39CD-A41B-C951F449053A}"/>
          </ac:spMkLst>
        </pc:spChg>
        <pc:spChg chg="add del mod modVis">
          <ac:chgData name="Jorge Costa" userId="6f0ed375-7d90-4a84-93f2-03ffaae48f30" providerId="ADAL" clId="{03E48706-ED28-4E40-9B7D-8C36692CE558}" dt="2023-09-28T06:56:31.151" v="96551"/>
          <ac:spMkLst>
            <pc:docMk/>
            <pc:sldMk cId="169091185" sldId="2147375775"/>
            <ac:spMk id="51" creationId="{B3E2725D-7A04-370A-EED2-9D8BBA2C23CB}"/>
          </ac:spMkLst>
        </pc:spChg>
        <pc:spChg chg="add mod ord replST">
          <ac:chgData name="Jorge Costa" userId="6f0ed375-7d90-4a84-93f2-03ffaae48f30" providerId="ADAL" clId="{03E48706-ED28-4E40-9B7D-8C36692CE558}" dt="2023-09-28T07:08:21.588" v="99008"/>
          <ac:spMkLst>
            <pc:docMk/>
            <pc:sldMk cId="169091185" sldId="2147375775"/>
            <ac:spMk id="52" creationId="{A667FBF5-DE13-5C61-AB9F-3777CEF691DF}"/>
          </ac:spMkLst>
        </pc:spChg>
        <pc:spChg chg="add del mod modVis">
          <ac:chgData name="Jorge Costa" userId="6f0ed375-7d90-4a84-93f2-03ffaae48f30" providerId="ADAL" clId="{03E48706-ED28-4E40-9B7D-8C36692CE558}" dt="2023-09-28T06:56:39.418" v="96671"/>
          <ac:spMkLst>
            <pc:docMk/>
            <pc:sldMk cId="169091185" sldId="2147375775"/>
            <ac:spMk id="54" creationId="{F2744212-D85B-76EE-41E9-221037252F64}"/>
          </ac:spMkLst>
        </pc:spChg>
        <pc:spChg chg="add del mod modVis">
          <ac:chgData name="Jorge Costa" userId="6f0ed375-7d90-4a84-93f2-03ffaae48f30" providerId="ADAL" clId="{03E48706-ED28-4E40-9B7D-8C36692CE558}" dt="2023-09-28T06:57:27.687" v="97409"/>
          <ac:spMkLst>
            <pc:docMk/>
            <pc:sldMk cId="169091185" sldId="2147375775"/>
            <ac:spMk id="55" creationId="{13D88428-614F-B885-9E22-58BABCC5ECB0}"/>
          </ac:spMkLst>
        </pc:spChg>
        <pc:spChg chg="add del mod modVis">
          <ac:chgData name="Jorge Costa" userId="6f0ed375-7d90-4a84-93f2-03ffaae48f30" providerId="ADAL" clId="{03E48706-ED28-4E40-9B7D-8C36692CE558}" dt="2023-09-28T07:07:41.162" v="98382"/>
          <ac:spMkLst>
            <pc:docMk/>
            <pc:sldMk cId="169091185" sldId="2147375775"/>
            <ac:spMk id="58" creationId="{783CCBBE-F698-9F56-3B74-91C520511F14}"/>
          </ac:spMkLst>
        </pc:spChg>
        <pc:spChg chg="mod ord">
          <ac:chgData name="Jorge Costa" userId="6f0ed375-7d90-4a84-93f2-03ffaae48f30" providerId="ADAL" clId="{03E48706-ED28-4E40-9B7D-8C36692CE558}" dt="2023-09-28T07:16:11.246" v="99511"/>
          <ac:spMkLst>
            <pc:docMk/>
            <pc:sldMk cId="169091185" sldId="2147375775"/>
            <ac:spMk id="76" creationId="{24951F3E-9F97-5DBE-B77A-298A28CA4AAD}"/>
          </ac:spMkLst>
        </pc:spChg>
        <pc:spChg chg="del mod ord">
          <ac:chgData name="Jorge Costa" userId="6f0ed375-7d90-4a84-93f2-03ffaae48f30" providerId="ADAL" clId="{03E48706-ED28-4E40-9B7D-8C36692CE558}" dt="2023-09-20T13:22:24.032" v="53641"/>
          <ac:spMkLst>
            <pc:docMk/>
            <pc:sldMk cId="169091185" sldId="2147375775"/>
            <ac:spMk id="77" creationId="{759867DF-7539-B770-CB59-C901C2FA0140}"/>
          </ac:spMkLst>
        </pc:spChg>
        <pc:spChg chg="del mod">
          <ac:chgData name="Jorge Costa" userId="6f0ed375-7d90-4a84-93f2-03ffaae48f30" providerId="ADAL" clId="{03E48706-ED28-4E40-9B7D-8C36692CE558}" dt="2023-09-20T13:16:38.734" v="43346"/>
          <ac:spMkLst>
            <pc:docMk/>
            <pc:sldMk cId="169091185" sldId="2147375775"/>
            <ac:spMk id="78" creationId="{EC9AEC77-0EB0-88F4-88B1-98B222F97630}"/>
          </ac:spMkLst>
        </pc:spChg>
        <pc:spChg chg="del mod ord">
          <ac:chgData name="Jorge Costa" userId="6f0ed375-7d90-4a84-93f2-03ffaae48f30" providerId="ADAL" clId="{03E48706-ED28-4E40-9B7D-8C36692CE558}" dt="2023-09-20T13:16:29.234" v="42321"/>
          <ac:spMkLst>
            <pc:docMk/>
            <pc:sldMk cId="169091185" sldId="2147375775"/>
            <ac:spMk id="79" creationId="{A8F45AF6-AE81-B504-2E8B-16324CD7A924}"/>
          </ac:spMkLst>
        </pc:spChg>
        <pc:spChg chg="del">
          <ac:chgData name="Jorge Costa" userId="6f0ed375-7d90-4a84-93f2-03ffaae48f30" providerId="ADAL" clId="{03E48706-ED28-4E40-9B7D-8C36692CE558}" dt="2023-09-20T13:10:41.664" v="34920"/>
          <ac:spMkLst>
            <pc:docMk/>
            <pc:sldMk cId="169091185" sldId="2147375775"/>
            <ac:spMk id="80" creationId="{E8A70A06-14D6-7576-4E83-7ED88C349FBE}"/>
          </ac:spMkLst>
        </pc:spChg>
        <pc:spChg chg="del mod ord">
          <ac:chgData name="Jorge Costa" userId="6f0ed375-7d90-4a84-93f2-03ffaae48f30" providerId="ADAL" clId="{03E48706-ED28-4E40-9B7D-8C36692CE558}" dt="2023-09-20T13:19:15.083" v="48288"/>
          <ac:spMkLst>
            <pc:docMk/>
            <pc:sldMk cId="169091185" sldId="2147375775"/>
            <ac:spMk id="81" creationId="{574674D3-E63F-3021-4E34-4BF9F77A1A3E}"/>
          </ac:spMkLst>
        </pc:spChg>
        <pc:spChg chg="del mod">
          <ac:chgData name="Jorge Costa" userId="6f0ed375-7d90-4a84-93f2-03ffaae48f30" providerId="ADAL" clId="{03E48706-ED28-4E40-9B7D-8C36692CE558}" dt="2023-09-20T13:12:04.974" v="35557"/>
          <ac:spMkLst>
            <pc:docMk/>
            <pc:sldMk cId="169091185" sldId="2147375775"/>
            <ac:spMk id="82" creationId="{DC5C6603-6780-EBA1-0F0C-CA8A1BB20716}"/>
          </ac:spMkLst>
        </pc:spChg>
        <pc:spChg chg="del mod">
          <ac:chgData name="Jorge Costa" userId="6f0ed375-7d90-4a84-93f2-03ffaae48f30" providerId="ADAL" clId="{03E48706-ED28-4E40-9B7D-8C36692CE558}" dt="2023-09-20T13:16:37.355" v="42922"/>
          <ac:spMkLst>
            <pc:docMk/>
            <pc:sldMk cId="169091185" sldId="2147375775"/>
            <ac:spMk id="83" creationId="{C43672E4-4B2F-7446-F12B-0ABDB775A9B1}"/>
          </ac:spMkLst>
        </pc:spChg>
        <pc:spChg chg="mod ord">
          <ac:chgData name="Jorge Costa" userId="6f0ed375-7d90-4a84-93f2-03ffaae48f30" providerId="ADAL" clId="{03E48706-ED28-4E40-9B7D-8C36692CE558}" dt="2023-09-28T07:08:32.098" v="99225"/>
          <ac:spMkLst>
            <pc:docMk/>
            <pc:sldMk cId="169091185" sldId="2147375775"/>
            <ac:spMk id="84" creationId="{B1502E28-8F22-CEA5-4D70-E88101056327}"/>
          </ac:spMkLst>
        </pc:spChg>
        <pc:spChg chg="del mod ord">
          <ac:chgData name="Jorge Costa" userId="6f0ed375-7d90-4a84-93f2-03ffaae48f30" providerId="ADAL" clId="{03E48706-ED28-4E40-9B7D-8C36692CE558}" dt="2023-09-20T13:29:35.377" v="59196"/>
          <ac:spMkLst>
            <pc:docMk/>
            <pc:sldMk cId="169091185" sldId="2147375775"/>
            <ac:spMk id="85" creationId="{72177406-905D-B543-3A9D-F800D11CAD0E}"/>
          </ac:spMkLst>
        </pc:spChg>
        <pc:spChg chg="del mod">
          <ac:chgData name="Jorge Costa" userId="6f0ed375-7d90-4a84-93f2-03ffaae48f30" providerId="ADAL" clId="{03E48706-ED28-4E40-9B7D-8C36692CE558}" dt="2023-09-20T13:12:04.974" v="35547"/>
          <ac:spMkLst>
            <pc:docMk/>
            <pc:sldMk cId="169091185" sldId="2147375775"/>
            <ac:spMk id="86" creationId="{31C1DE5A-5E92-1425-4749-90BE4EC69EED}"/>
          </ac:spMkLst>
        </pc:spChg>
        <pc:spChg chg="del mod">
          <ac:chgData name="Jorge Costa" userId="6f0ed375-7d90-4a84-93f2-03ffaae48f30" providerId="ADAL" clId="{03E48706-ED28-4E40-9B7D-8C36692CE558}" dt="2023-09-20T13:12:04.965" v="35528"/>
          <ac:spMkLst>
            <pc:docMk/>
            <pc:sldMk cId="169091185" sldId="2147375775"/>
            <ac:spMk id="87" creationId="{5E1758D2-C48A-CED3-4B12-7B1F05E7C48F}"/>
          </ac:spMkLst>
        </pc:spChg>
        <pc:spChg chg="del mod">
          <ac:chgData name="Jorge Costa" userId="6f0ed375-7d90-4a84-93f2-03ffaae48f30" providerId="ADAL" clId="{03E48706-ED28-4E40-9B7D-8C36692CE558}" dt="2023-09-20T13:12:04.965" v="35536"/>
          <ac:spMkLst>
            <pc:docMk/>
            <pc:sldMk cId="169091185" sldId="2147375775"/>
            <ac:spMk id="88" creationId="{BBBFD8CB-FB4B-7F48-3051-479676BCFA50}"/>
          </ac:spMkLst>
        </pc:spChg>
        <pc:spChg chg="del mod">
          <ac:chgData name="Jorge Costa" userId="6f0ed375-7d90-4a84-93f2-03ffaae48f30" providerId="ADAL" clId="{03E48706-ED28-4E40-9B7D-8C36692CE558}" dt="2023-09-20T13:12:04.972" v="35540"/>
          <ac:spMkLst>
            <pc:docMk/>
            <pc:sldMk cId="169091185" sldId="2147375775"/>
            <ac:spMk id="89" creationId="{8004B1A7-CAB5-9024-BF76-127CC7BCA884}"/>
          </ac:spMkLst>
        </pc:spChg>
        <pc:spChg chg="del mod ord">
          <ac:chgData name="Jorge Costa" userId="6f0ed375-7d90-4a84-93f2-03ffaae48f30" providerId="ADAL" clId="{03E48706-ED28-4E40-9B7D-8C36692CE558}" dt="2023-09-20T13:16:42.383" v="43620"/>
          <ac:spMkLst>
            <pc:docMk/>
            <pc:sldMk cId="169091185" sldId="2147375775"/>
            <ac:spMk id="90" creationId="{C87E00D8-1032-ADDC-62A3-F67FE42559DB}"/>
          </ac:spMkLst>
        </pc:spChg>
        <pc:spChg chg="del mod ord">
          <ac:chgData name="Jorge Costa" userId="6f0ed375-7d90-4a84-93f2-03ffaae48f30" providerId="ADAL" clId="{03E48706-ED28-4E40-9B7D-8C36692CE558}" dt="2023-09-20T13:16:45.278" v="43689"/>
          <ac:spMkLst>
            <pc:docMk/>
            <pc:sldMk cId="169091185" sldId="2147375775"/>
            <ac:spMk id="91" creationId="{0F174C73-F7C3-75E0-B8F2-22F6B14E326B}"/>
          </ac:spMkLst>
        </pc:spChg>
        <pc:spChg chg="del mod ord">
          <ac:chgData name="Jorge Costa" userId="6f0ed375-7d90-4a84-93f2-03ffaae48f30" providerId="ADAL" clId="{03E48706-ED28-4E40-9B7D-8C36692CE558}" dt="2023-09-20T13:12:14.758" v="36479"/>
          <ac:spMkLst>
            <pc:docMk/>
            <pc:sldMk cId="169091185" sldId="2147375775"/>
            <ac:spMk id="92" creationId="{D7CFF45C-49EB-F0CB-951B-513801FE172E}"/>
          </ac:spMkLst>
        </pc:spChg>
        <pc:spChg chg="del mod ord">
          <ac:chgData name="Jorge Costa" userId="6f0ed375-7d90-4a84-93f2-03ffaae48f30" providerId="ADAL" clId="{03E48706-ED28-4E40-9B7D-8C36692CE558}" dt="2023-09-20T13:19:41.689" v="49462"/>
          <ac:spMkLst>
            <pc:docMk/>
            <pc:sldMk cId="169091185" sldId="2147375775"/>
            <ac:spMk id="93" creationId="{EEB9D741-AF27-7196-568F-116E1C16CD87}"/>
          </ac:spMkLst>
        </pc:spChg>
        <pc:spChg chg="del mod ord">
          <ac:chgData name="Jorge Costa" userId="6f0ed375-7d90-4a84-93f2-03ffaae48f30" providerId="ADAL" clId="{03E48706-ED28-4E40-9B7D-8C36692CE558}" dt="2023-09-20T13:19:30.367" v="49076"/>
          <ac:spMkLst>
            <pc:docMk/>
            <pc:sldMk cId="169091185" sldId="2147375775"/>
            <ac:spMk id="94" creationId="{5B010D88-B94B-9A70-AF5E-73B3428B073D}"/>
          </ac:spMkLst>
        </pc:spChg>
        <pc:spChg chg="del mod">
          <ac:chgData name="Jorge Costa" userId="6f0ed375-7d90-4a84-93f2-03ffaae48f30" providerId="ADAL" clId="{03E48706-ED28-4E40-9B7D-8C36692CE558}" dt="2023-09-20T13:12:04.972" v="35542"/>
          <ac:spMkLst>
            <pc:docMk/>
            <pc:sldMk cId="169091185" sldId="2147375775"/>
            <ac:spMk id="95" creationId="{D85D6D1E-20A3-D354-A415-551A12F216FC}"/>
          </ac:spMkLst>
        </pc:spChg>
        <pc:spChg chg="del mod">
          <ac:chgData name="Jorge Costa" userId="6f0ed375-7d90-4a84-93f2-03ffaae48f30" providerId="ADAL" clId="{03E48706-ED28-4E40-9B7D-8C36692CE558}" dt="2023-09-20T13:12:04.979" v="35565"/>
          <ac:spMkLst>
            <pc:docMk/>
            <pc:sldMk cId="169091185" sldId="2147375775"/>
            <ac:spMk id="96" creationId="{5C9AD7AA-4804-4A15-7703-ADE6ED032A46}"/>
          </ac:spMkLst>
        </pc:spChg>
        <pc:spChg chg="del">
          <ac:chgData name="Jorge Costa" userId="6f0ed375-7d90-4a84-93f2-03ffaae48f30" providerId="ADAL" clId="{03E48706-ED28-4E40-9B7D-8C36692CE558}" dt="2023-09-20T13:10:41.675" v="34922"/>
          <ac:spMkLst>
            <pc:docMk/>
            <pc:sldMk cId="169091185" sldId="2147375775"/>
            <ac:spMk id="97" creationId="{CB079841-C947-728E-9976-E681C6E3EBBE}"/>
          </ac:spMkLst>
        </pc:spChg>
        <pc:spChg chg="del mod ord">
          <ac:chgData name="Jorge Costa" userId="6f0ed375-7d90-4a84-93f2-03ffaae48f30" providerId="ADAL" clId="{03E48706-ED28-4E40-9B7D-8C36692CE558}" dt="2023-09-20T13:19:17.963" v="48358"/>
          <ac:spMkLst>
            <pc:docMk/>
            <pc:sldMk cId="169091185" sldId="2147375775"/>
            <ac:spMk id="98" creationId="{D7C5C6B8-194E-9FA5-66A8-510BA2234F98}"/>
          </ac:spMkLst>
        </pc:spChg>
        <pc:spChg chg="del mod ord">
          <ac:chgData name="Jorge Costa" userId="6f0ed375-7d90-4a84-93f2-03ffaae48f30" providerId="ADAL" clId="{03E48706-ED28-4E40-9B7D-8C36692CE558}" dt="2023-09-20T13:16:29.245" v="42325"/>
          <ac:spMkLst>
            <pc:docMk/>
            <pc:sldMk cId="169091185" sldId="2147375775"/>
            <ac:spMk id="99" creationId="{C27DD4B9-8F9E-D63F-A464-C4761EF453FD}"/>
          </ac:spMkLst>
        </pc:spChg>
        <pc:spChg chg="add del mod modVis">
          <ac:chgData name="Jorge Costa" userId="6f0ed375-7d90-4a84-93f2-03ffaae48f30" providerId="ADAL" clId="{03E48706-ED28-4E40-9B7D-8C36692CE558}" dt="2023-09-20T13:10:42.055" v="35390"/>
          <ac:spMkLst>
            <pc:docMk/>
            <pc:sldMk cId="169091185" sldId="2147375775"/>
            <ac:spMk id="100" creationId="{13F0C147-BBBA-87E6-9FB8-1D1F7D0A9445}"/>
          </ac:spMkLst>
        </pc:spChg>
        <pc:spChg chg="add del mod replST">
          <ac:chgData name="Jorge Costa" userId="6f0ed375-7d90-4a84-93f2-03ffaae48f30" providerId="ADAL" clId="{03E48706-ED28-4E40-9B7D-8C36692CE558}" dt="2023-09-28T06:48:20.304" v="86804"/>
          <ac:spMkLst>
            <pc:docMk/>
            <pc:sldMk cId="169091185" sldId="2147375775"/>
            <ac:spMk id="101" creationId="{CC939388-6011-76F0-E55F-327528C5E559}"/>
          </ac:spMkLst>
        </pc:spChg>
        <pc:spChg chg="mod ord">
          <ac:chgData name="Jorge Costa" userId="6f0ed375-7d90-4a84-93f2-03ffaae48f30" providerId="ADAL" clId="{03E48706-ED28-4E40-9B7D-8C36692CE558}" dt="2023-09-28T07:08:29.615" v="99151"/>
          <ac:spMkLst>
            <pc:docMk/>
            <pc:sldMk cId="169091185" sldId="2147375775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09-28T07:08:21.586" v="98996"/>
          <ac:spMkLst>
            <pc:docMk/>
            <pc:sldMk cId="169091185" sldId="2147375775"/>
            <ac:spMk id="103" creationId="{B3E03E21-2D27-3131-9305-2E086B933DB0}"/>
          </ac:spMkLst>
        </pc:spChg>
        <pc:spChg chg="del">
          <ac:chgData name="Jorge Costa" userId="6f0ed375-7d90-4a84-93f2-03ffaae48f30" providerId="ADAL" clId="{03E48706-ED28-4E40-9B7D-8C36692CE558}" dt="2023-09-20T13:12:04.956" v="35513"/>
          <ac:spMkLst>
            <pc:docMk/>
            <pc:sldMk cId="169091185" sldId="2147375775"/>
            <ac:spMk id="105" creationId="{B3AED892-2D40-B531-5E5B-84966311A7B5}"/>
          </ac:spMkLst>
        </pc:spChg>
        <pc:spChg chg="del">
          <ac:chgData name="Jorge Costa" userId="6f0ed375-7d90-4a84-93f2-03ffaae48f30" providerId="ADAL" clId="{03E48706-ED28-4E40-9B7D-8C36692CE558}" dt="2023-09-20T13:12:04.956" v="35507"/>
          <ac:spMkLst>
            <pc:docMk/>
            <pc:sldMk cId="169091185" sldId="2147375775"/>
            <ac:spMk id="106" creationId="{BF9A870E-AF50-6E3F-2788-F19E6F25C7A4}"/>
          </ac:spMkLst>
        </pc:spChg>
        <pc:spChg chg="del">
          <ac:chgData name="Jorge Costa" userId="6f0ed375-7d90-4a84-93f2-03ffaae48f30" providerId="ADAL" clId="{03E48706-ED28-4E40-9B7D-8C36692CE558}" dt="2023-09-20T13:12:04.956" v="35499"/>
          <ac:spMkLst>
            <pc:docMk/>
            <pc:sldMk cId="169091185" sldId="2147375775"/>
            <ac:spMk id="107" creationId="{D498AF04-A7A2-06B8-0C1C-9A1F24DA0FC7}"/>
          </ac:spMkLst>
        </pc:spChg>
        <pc:spChg chg="del">
          <ac:chgData name="Jorge Costa" userId="6f0ed375-7d90-4a84-93f2-03ffaae48f30" providerId="ADAL" clId="{03E48706-ED28-4E40-9B7D-8C36692CE558}" dt="2023-09-20T13:12:04.956" v="35491"/>
          <ac:spMkLst>
            <pc:docMk/>
            <pc:sldMk cId="169091185" sldId="2147375775"/>
            <ac:spMk id="108" creationId="{CB5FED4F-3383-2F5D-C67F-63EECAFF00BC}"/>
          </ac:spMkLst>
        </pc:spChg>
        <pc:spChg chg="del mod ord">
          <ac:chgData name="Jorge Costa" userId="6f0ed375-7d90-4a84-93f2-03ffaae48f30" providerId="ADAL" clId="{03E48706-ED28-4E40-9B7D-8C36692CE558}" dt="2023-09-20T13:19:21.993" v="48943"/>
          <ac:spMkLst>
            <pc:docMk/>
            <pc:sldMk cId="169091185" sldId="2147375775"/>
            <ac:spMk id="109" creationId="{91A0A2DE-067D-11D8-E61D-85B616F1C802}"/>
          </ac:spMkLst>
        </pc:spChg>
        <pc:spChg chg="del mod ord">
          <ac:chgData name="Jorge Costa" userId="6f0ed375-7d90-4a84-93f2-03ffaae48f30" providerId="ADAL" clId="{03E48706-ED28-4E40-9B7D-8C36692CE558}" dt="2023-09-20T13:19:33.704" v="49397"/>
          <ac:spMkLst>
            <pc:docMk/>
            <pc:sldMk cId="169091185" sldId="2147375775"/>
            <ac:spMk id="110" creationId="{D0E1042E-B43A-105E-F291-5C01AF2E68AE}"/>
          </ac:spMkLst>
        </pc:spChg>
        <pc:spChg chg="del mod ord">
          <ac:chgData name="Jorge Costa" userId="6f0ed375-7d90-4a84-93f2-03ffaae48f30" providerId="ADAL" clId="{03E48706-ED28-4E40-9B7D-8C36692CE558}" dt="2023-09-20T13:19:19.573" v="48672"/>
          <ac:spMkLst>
            <pc:docMk/>
            <pc:sldMk cId="169091185" sldId="2147375775"/>
            <ac:spMk id="111" creationId="{5B5281C9-C019-C7D6-BC49-713304DE76AD}"/>
          </ac:spMkLst>
        </pc:spChg>
        <pc:spChg chg="del mod">
          <ac:chgData name="Jorge Costa" userId="6f0ed375-7d90-4a84-93f2-03ffaae48f30" providerId="ADAL" clId="{03E48706-ED28-4E40-9B7D-8C36692CE558}" dt="2023-09-20T13:12:04.965" v="35534"/>
          <ac:spMkLst>
            <pc:docMk/>
            <pc:sldMk cId="169091185" sldId="2147375775"/>
            <ac:spMk id="112" creationId="{2697DA24-C9FD-08F2-4BCD-35FD73B0B67D}"/>
          </ac:spMkLst>
        </pc:spChg>
        <pc:spChg chg="del mod">
          <ac:chgData name="Jorge Costa" userId="6f0ed375-7d90-4a84-93f2-03ffaae48f30" providerId="ADAL" clId="{03E48706-ED28-4E40-9B7D-8C36692CE558}" dt="2023-09-20T13:12:04.965" v="35524"/>
          <ac:spMkLst>
            <pc:docMk/>
            <pc:sldMk cId="169091185" sldId="2147375775"/>
            <ac:spMk id="113" creationId="{1D84C512-C8A5-2F3D-DC66-F15C7CB8E26C}"/>
          </ac:spMkLst>
        </pc:spChg>
        <pc:spChg chg="del mod ord">
          <ac:chgData name="Jorge Costa" userId="6f0ed375-7d90-4a84-93f2-03ffaae48f30" providerId="ADAL" clId="{03E48706-ED28-4E40-9B7D-8C36692CE558}" dt="2023-09-20T13:16:29.245" v="42329"/>
          <ac:spMkLst>
            <pc:docMk/>
            <pc:sldMk cId="169091185" sldId="2147375775"/>
            <ac:spMk id="114" creationId="{D18BC5E0-1467-E784-C4CA-F4CB1C543DBB}"/>
          </ac:spMkLst>
        </pc:spChg>
        <pc:spChg chg="mod ord">
          <ac:chgData name="Jorge Costa" userId="6f0ed375-7d90-4a84-93f2-03ffaae48f30" providerId="ADAL" clId="{03E48706-ED28-4E40-9B7D-8C36692CE558}" dt="2023-09-28T07:08:21.586" v="99000"/>
          <ac:spMkLst>
            <pc:docMk/>
            <pc:sldMk cId="169091185" sldId="2147375775"/>
            <ac:spMk id="115" creationId="{1AE70446-B4CE-2D72-0BD7-240EE57C8F21}"/>
          </ac:spMkLst>
        </pc:spChg>
        <pc:spChg chg="del mod">
          <ac:chgData name="Jorge Costa" userId="6f0ed375-7d90-4a84-93f2-03ffaae48f30" providerId="ADAL" clId="{03E48706-ED28-4E40-9B7D-8C36692CE558}" dt="2023-09-20T13:12:04.974" v="35551"/>
          <ac:spMkLst>
            <pc:docMk/>
            <pc:sldMk cId="169091185" sldId="2147375775"/>
            <ac:spMk id="116" creationId="{F347976F-2CB3-10E3-4628-BD2574770EA0}"/>
          </ac:spMkLst>
        </pc:spChg>
        <pc:spChg chg="del">
          <ac:chgData name="Jorge Costa" userId="6f0ed375-7d90-4a84-93f2-03ffaae48f30" providerId="ADAL" clId="{03E48706-ED28-4E40-9B7D-8C36692CE558}" dt="2023-09-20T13:10:41.675" v="34924"/>
          <ac:spMkLst>
            <pc:docMk/>
            <pc:sldMk cId="169091185" sldId="2147375775"/>
            <ac:spMk id="117" creationId="{10863595-3AB8-3F4E-C711-28427DDF8152}"/>
          </ac:spMkLst>
        </pc:spChg>
        <pc:spChg chg="del mod ord">
          <ac:chgData name="Jorge Costa" userId="6f0ed375-7d90-4a84-93f2-03ffaae48f30" providerId="ADAL" clId="{03E48706-ED28-4E40-9B7D-8C36692CE558}" dt="2023-09-20T13:19:31.883" v="49141"/>
          <ac:spMkLst>
            <pc:docMk/>
            <pc:sldMk cId="169091185" sldId="2147375775"/>
            <ac:spMk id="118" creationId="{22DCAE1F-3305-AF8B-3502-37EAFE0290EA}"/>
          </ac:spMkLst>
        </pc:spChg>
        <pc:spChg chg="add del mod replST">
          <ac:chgData name="Jorge Costa" userId="6f0ed375-7d90-4a84-93f2-03ffaae48f30" providerId="ADAL" clId="{03E48706-ED28-4E40-9B7D-8C36692CE558}" dt="2023-09-28T06:48:20.304" v="86803"/>
          <ac:spMkLst>
            <pc:docMk/>
            <pc:sldMk cId="169091185" sldId="2147375775"/>
            <ac:spMk id="119" creationId="{E7808D21-F596-EE8A-AAA6-1353C4D6D32C}"/>
          </ac:spMkLst>
        </pc:spChg>
        <pc:spChg chg="add del mod modVis">
          <ac:chgData name="Jorge Costa" userId="6f0ed375-7d90-4a84-93f2-03ffaae48f30" providerId="ADAL" clId="{03E48706-ED28-4E40-9B7D-8C36692CE558}" dt="2023-09-20T13:12:26.199" v="37308"/>
          <ac:spMkLst>
            <pc:docMk/>
            <pc:sldMk cId="169091185" sldId="2147375775"/>
            <ac:spMk id="123" creationId="{001C3770-BDF7-925B-D09A-EF8B65243458}"/>
          </ac:spMkLst>
        </pc:spChg>
        <pc:spChg chg="del mod">
          <ac:chgData name="Jorge Costa" userId="6f0ed375-7d90-4a84-93f2-03ffaae48f30" providerId="ADAL" clId="{03E48706-ED28-4E40-9B7D-8C36692CE558}" dt="2023-09-20T13:16:29.245" v="42332"/>
          <ac:spMkLst>
            <pc:docMk/>
            <pc:sldMk cId="169091185" sldId="2147375775"/>
            <ac:spMk id="124" creationId="{6C6730CE-6C8A-FA2E-4721-9C2209967225}"/>
          </ac:spMkLst>
        </pc:spChg>
        <pc:spChg chg="del mod">
          <ac:chgData name="Jorge Costa" userId="6f0ed375-7d90-4a84-93f2-03ffaae48f30" providerId="ADAL" clId="{03E48706-ED28-4E40-9B7D-8C36692CE558}" dt="2023-09-20T13:12:04.979" v="35563"/>
          <ac:spMkLst>
            <pc:docMk/>
            <pc:sldMk cId="169091185" sldId="2147375775"/>
            <ac:spMk id="125" creationId="{19698886-28B9-358F-B5E0-27B746C82BAE}"/>
          </ac:spMkLst>
        </pc:spChg>
        <pc:spChg chg="del mod">
          <ac:chgData name="Jorge Costa" userId="6f0ed375-7d90-4a84-93f2-03ffaae48f30" providerId="ADAL" clId="{03E48706-ED28-4E40-9B7D-8C36692CE558}" dt="2023-09-20T13:16:29.245" v="42333"/>
          <ac:spMkLst>
            <pc:docMk/>
            <pc:sldMk cId="169091185" sldId="2147375775"/>
            <ac:spMk id="126" creationId="{738C59B6-7678-5A1B-2E85-98A515305264}"/>
          </ac:spMkLst>
        </pc:spChg>
        <pc:spChg chg="del">
          <ac:chgData name="Jorge Costa" userId="6f0ed375-7d90-4a84-93f2-03ffaae48f30" providerId="ADAL" clId="{03E48706-ED28-4E40-9B7D-8C36692CE558}" dt="2023-09-20T13:10:41.678" v="34926"/>
          <ac:spMkLst>
            <pc:docMk/>
            <pc:sldMk cId="169091185" sldId="2147375775"/>
            <ac:spMk id="127" creationId="{43A5B4E9-1A9C-D91D-4FE2-C56383576718}"/>
          </ac:spMkLst>
        </pc:spChg>
        <pc:spChg chg="del mod ord">
          <ac:chgData name="Jorge Costa" userId="6f0ed375-7d90-4a84-93f2-03ffaae48f30" providerId="ADAL" clId="{03E48706-ED28-4E40-9B7D-8C36692CE558}" dt="2023-09-20T13:16:29.245" v="42331"/>
          <ac:spMkLst>
            <pc:docMk/>
            <pc:sldMk cId="169091185" sldId="2147375775"/>
            <ac:spMk id="128" creationId="{7DD8E3B5-EFB3-A991-22BA-5D164AE9CBD1}"/>
          </ac:spMkLst>
        </pc:spChg>
        <pc:spChg chg="del mod ord">
          <ac:chgData name="Jorge Costa" userId="6f0ed375-7d90-4a84-93f2-03ffaae48f30" providerId="ADAL" clId="{03E48706-ED28-4E40-9B7D-8C36692CE558}" dt="2023-09-20T13:16:29.244" v="42323"/>
          <ac:spMkLst>
            <pc:docMk/>
            <pc:sldMk cId="169091185" sldId="2147375775"/>
            <ac:spMk id="129" creationId="{A6FD8DDE-9E22-5578-5432-46E8A296902A}"/>
          </ac:spMkLst>
        </pc:spChg>
        <pc:spChg chg="del mod">
          <ac:chgData name="Jorge Costa" userId="6f0ed375-7d90-4a84-93f2-03ffaae48f30" providerId="ADAL" clId="{03E48706-ED28-4E40-9B7D-8C36692CE558}" dt="2023-09-20T13:16:30.948" v="42567"/>
          <ac:spMkLst>
            <pc:docMk/>
            <pc:sldMk cId="169091185" sldId="2147375775"/>
            <ac:spMk id="130" creationId="{4A715BFD-2CAD-217D-62FE-178DD4333817}"/>
          </ac:spMkLst>
        </pc:spChg>
        <pc:spChg chg="add del mod">
          <ac:chgData name="Jorge Costa" userId="6f0ed375-7d90-4a84-93f2-03ffaae48f30" providerId="ADAL" clId="{03E48706-ED28-4E40-9B7D-8C36692CE558}" dt="2023-09-28T11:11:04.881" v="99763"/>
          <ac:spMkLst>
            <pc:docMk/>
            <pc:sldMk cId="169091185" sldId="2147375775"/>
            <ac:spMk id="131" creationId="{CC798BAB-2E2F-895E-0067-E110844B9C0F}"/>
          </ac:spMkLst>
        </pc:spChg>
        <pc:spChg chg="del mod ord">
          <ac:chgData name="Jorge Costa" userId="6f0ed375-7d90-4a84-93f2-03ffaae48f30" providerId="ADAL" clId="{03E48706-ED28-4E40-9B7D-8C36692CE558}" dt="2023-09-20T13:16:29.245" v="42327"/>
          <ac:spMkLst>
            <pc:docMk/>
            <pc:sldMk cId="169091185" sldId="2147375775"/>
            <ac:spMk id="132" creationId="{6EF28A77-0036-DEEF-5CC4-114A0BE194C3}"/>
          </ac:spMkLst>
        </pc:spChg>
        <pc:spChg chg="del mod ord">
          <ac:chgData name="Jorge Costa" userId="6f0ed375-7d90-4a84-93f2-03ffaae48f30" providerId="ADAL" clId="{03E48706-ED28-4E40-9B7D-8C36692CE558}" dt="2023-09-20T13:19:15.083" v="48290"/>
          <ac:spMkLst>
            <pc:docMk/>
            <pc:sldMk cId="169091185" sldId="2147375775"/>
            <ac:spMk id="133" creationId="{8D25B7F6-74C7-8418-3ACC-C26C78E5706D}"/>
          </ac:spMkLst>
        </pc:spChg>
        <pc:spChg chg="mod">
          <ac:chgData name="Jorge Costa" userId="6f0ed375-7d90-4a84-93f2-03ffaae48f30" providerId="ADAL" clId="{03E48706-ED28-4E40-9B7D-8C36692CE558}" dt="2023-09-28T11:11:04.865" v="99736"/>
          <ac:spMkLst>
            <pc:docMk/>
            <pc:sldMk cId="169091185" sldId="2147375775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35" creationId="{F9039647-D59B-E747-6EC5-ACCB872A93DE}"/>
          </ac:spMkLst>
        </pc:spChg>
        <pc:spChg chg="del mod">
          <ac:chgData name="Jorge Costa" userId="6f0ed375-7d90-4a84-93f2-03ffaae48f30" providerId="ADAL" clId="{03E48706-ED28-4E40-9B7D-8C36692CE558}" dt="2023-09-20T14:49:50.741" v="79875"/>
          <ac:spMkLst>
            <pc:docMk/>
            <pc:sldMk cId="169091185" sldId="2147375775"/>
            <ac:spMk id="136" creationId="{5C5175D3-46A7-2576-2CEB-66AC48A018AE}"/>
          </ac:spMkLst>
        </pc:spChg>
        <pc:spChg chg="del mod">
          <ac:chgData name="Jorge Costa" userId="6f0ed375-7d90-4a84-93f2-03ffaae48f30" providerId="ADAL" clId="{03E48706-ED28-4E40-9B7D-8C36692CE558}" dt="2023-09-20T13:16:32.976" v="42640"/>
          <ac:spMkLst>
            <pc:docMk/>
            <pc:sldMk cId="169091185" sldId="2147375775"/>
            <ac:spMk id="137" creationId="{FD4D0756-ABE1-667E-1BAF-1ED91C6C1FB1}"/>
          </ac:spMkLst>
        </pc:spChg>
        <pc:spChg chg="mod">
          <ac:chgData name="Jorge Costa" userId="6f0ed375-7d90-4a84-93f2-03ffaae48f30" providerId="ADAL" clId="{03E48706-ED28-4E40-9B7D-8C36692CE558}" dt="2023-09-28T11:11:04.881" v="99764"/>
          <ac:spMkLst>
            <pc:docMk/>
            <pc:sldMk cId="169091185" sldId="2147375775"/>
            <ac:spMk id="138" creationId="{8C780FA9-0134-8146-6C92-216EB8325815}"/>
          </ac:spMkLst>
        </pc:spChg>
        <pc:spChg chg="del mod">
          <ac:chgData name="Jorge Costa" userId="6f0ed375-7d90-4a84-93f2-03ffaae48f30" providerId="ADAL" clId="{03E48706-ED28-4E40-9B7D-8C36692CE558}" dt="2023-09-20T13:16:27.713" v="42165"/>
          <ac:spMkLst>
            <pc:docMk/>
            <pc:sldMk cId="169091185" sldId="2147375775"/>
            <ac:spMk id="139" creationId="{3AC89ABD-49C6-EA4E-B9B5-FB53470440C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40" creationId="{A54749A8-E351-3ABF-856F-4F56C085586F}"/>
          </ac:spMkLst>
        </pc:spChg>
        <pc:spChg chg="del mod ord">
          <ac:chgData name="Jorge Costa" userId="6f0ed375-7d90-4a84-93f2-03ffaae48f30" providerId="ADAL" clId="{03E48706-ED28-4E40-9B7D-8C36692CE558}" dt="2023-09-20T13:19:22.003" v="48945"/>
          <ac:spMkLst>
            <pc:docMk/>
            <pc:sldMk cId="169091185" sldId="2147375775"/>
            <ac:spMk id="141" creationId="{8DFC854E-C047-7CC3-3E74-13BC620FAC09}"/>
          </ac:spMkLst>
        </pc:spChg>
        <pc:spChg chg="mod">
          <ac:chgData name="Jorge Costa" userId="6f0ed375-7d90-4a84-93f2-03ffaae48f30" providerId="ADAL" clId="{03E48706-ED28-4E40-9B7D-8C36692CE558}" dt="2023-09-28T11:11:04.882" v="99765"/>
          <ac:spMkLst>
            <pc:docMk/>
            <pc:sldMk cId="169091185" sldId="2147375775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09-28T11:11:04.882" v="99766"/>
          <ac:spMkLst>
            <pc:docMk/>
            <pc:sldMk cId="169091185" sldId="2147375775"/>
            <ac:spMk id="143" creationId="{BC0B9DA0-2056-FBB9-2F75-87406D42E7CA}"/>
          </ac:spMkLst>
        </pc:spChg>
        <pc:spChg chg="del mod ord">
          <ac:chgData name="Jorge Costa" userId="6f0ed375-7d90-4a84-93f2-03ffaae48f30" providerId="ADAL" clId="{03E48706-ED28-4E40-9B7D-8C36692CE558}" dt="2023-09-20T13:19:19.573" v="48674"/>
          <ac:spMkLst>
            <pc:docMk/>
            <pc:sldMk cId="169091185" sldId="2147375775"/>
            <ac:spMk id="144" creationId="{80204BE9-B85D-4B4E-AF77-EE14D11B4477}"/>
          </ac:spMkLst>
        </pc:spChg>
        <pc:spChg chg="mod">
          <ac:chgData name="Jorge Costa" userId="6f0ed375-7d90-4a84-93f2-03ffaae48f30" providerId="ADAL" clId="{03E48706-ED28-4E40-9B7D-8C36692CE558}" dt="2023-09-28T11:11:04.883" v="99767"/>
          <ac:spMkLst>
            <pc:docMk/>
            <pc:sldMk cId="169091185" sldId="2147375775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09-28T11:11:04.883" v="99768"/>
          <ac:spMkLst>
            <pc:docMk/>
            <pc:sldMk cId="169091185" sldId="2147375775"/>
            <ac:spMk id="146" creationId="{BE11FADF-F089-21E6-BBDE-DB42BE9ED1AC}"/>
          </ac:spMkLst>
        </pc:spChg>
        <pc:spChg chg="del mod">
          <ac:chgData name="Jorge Costa" userId="6f0ed375-7d90-4a84-93f2-03ffaae48f30" providerId="ADAL" clId="{03E48706-ED28-4E40-9B7D-8C36692CE558}" dt="2023-09-20T13:12:04.965" v="35522"/>
          <ac:spMkLst>
            <pc:docMk/>
            <pc:sldMk cId="169091185" sldId="2147375775"/>
            <ac:spMk id="147" creationId="{7A3F78B3-4114-251F-83BA-6DFB64A6F725}"/>
          </ac:spMkLst>
        </pc:spChg>
        <pc:spChg chg="del mod">
          <ac:chgData name="Jorge Costa" userId="6f0ed375-7d90-4a84-93f2-03ffaae48f30" providerId="ADAL" clId="{03E48706-ED28-4E40-9B7D-8C36692CE558}" dt="2023-09-20T13:12:04.974" v="35549"/>
          <ac:spMkLst>
            <pc:docMk/>
            <pc:sldMk cId="169091185" sldId="2147375775"/>
            <ac:spMk id="148" creationId="{7AB7DD00-C303-A015-16F3-99FE744C2C6A}"/>
          </ac:spMkLst>
        </pc:spChg>
        <pc:spChg chg="del mod ord">
          <ac:chgData name="Jorge Costa" userId="6f0ed375-7d90-4a84-93f2-03ffaae48f30" providerId="ADAL" clId="{03E48706-ED28-4E40-9B7D-8C36692CE558}" dt="2023-09-20T13:22:24.032" v="53643"/>
          <ac:spMkLst>
            <pc:docMk/>
            <pc:sldMk cId="169091185" sldId="2147375775"/>
            <ac:spMk id="149" creationId="{DFCD7434-521F-63C8-116D-C2768A004327}"/>
          </ac:spMkLst>
        </pc:spChg>
        <pc:spChg chg="del mod ord">
          <ac:chgData name="Jorge Costa" userId="6f0ed375-7d90-4a84-93f2-03ffaae48f30" providerId="ADAL" clId="{03E48706-ED28-4E40-9B7D-8C36692CE558}" dt="2023-09-20T13:16:35.255" v="42849"/>
          <ac:spMkLst>
            <pc:docMk/>
            <pc:sldMk cId="169091185" sldId="2147375775"/>
            <ac:spMk id="150" creationId="{8F2490FA-1E32-D10C-CAAD-EBF7684222C6}"/>
          </ac:spMkLst>
        </pc:spChg>
        <pc:spChg chg="del mod ord">
          <ac:chgData name="Jorge Costa" userId="6f0ed375-7d90-4a84-93f2-03ffaae48f30" providerId="ADAL" clId="{03E48706-ED28-4E40-9B7D-8C36692CE558}" dt="2023-09-20T13:12:14.760" v="36481"/>
          <ac:spMkLst>
            <pc:docMk/>
            <pc:sldMk cId="169091185" sldId="2147375775"/>
            <ac:spMk id="151" creationId="{8AC2E45D-825C-5261-35A7-85FE6E77FC57}"/>
          </ac:spMkLst>
        </pc:spChg>
        <pc:spChg chg="del mod">
          <ac:chgData name="Jorge Costa" userId="6f0ed375-7d90-4a84-93f2-03ffaae48f30" providerId="ADAL" clId="{03E48706-ED28-4E40-9B7D-8C36692CE558}" dt="2023-09-20T13:12:04.974" v="35555"/>
          <ac:spMkLst>
            <pc:docMk/>
            <pc:sldMk cId="169091185" sldId="2147375775"/>
            <ac:spMk id="152" creationId="{E96AFBEC-2CA0-231F-C7FD-78B65B10E99C}"/>
          </ac:spMkLst>
        </pc:spChg>
        <pc:spChg chg="del mod">
          <ac:chgData name="Jorge Costa" userId="6f0ed375-7d90-4a84-93f2-03ffaae48f30" providerId="ADAL" clId="{03E48706-ED28-4E40-9B7D-8C36692CE558}" dt="2023-09-20T13:12:04.965" v="35526"/>
          <ac:spMkLst>
            <pc:docMk/>
            <pc:sldMk cId="169091185" sldId="2147375775"/>
            <ac:spMk id="153" creationId="{59CDA602-4539-4308-25F3-D5C535DCB64C}"/>
          </ac:spMkLst>
        </pc:spChg>
        <pc:spChg chg="mod">
          <ac:chgData name="Jorge Costa" userId="6f0ed375-7d90-4a84-93f2-03ffaae48f30" providerId="ADAL" clId="{03E48706-ED28-4E40-9B7D-8C36692CE558}" dt="2023-09-28T11:11:04.878" v="99757"/>
          <ac:spMkLst>
            <pc:docMk/>
            <pc:sldMk cId="169091185" sldId="2147375775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09-28T11:11:04.878" v="99756"/>
          <ac:spMkLst>
            <pc:docMk/>
            <pc:sldMk cId="169091185" sldId="2147375775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56" creationId="{74B262B7-2ED3-984F-6D4E-2C5B5383265C}"/>
          </ac:spMkLst>
        </pc:spChg>
        <pc:spChg chg="del mod ord">
          <ac:chgData name="Jorge Costa" userId="6f0ed375-7d90-4a84-93f2-03ffaae48f30" providerId="ADAL" clId="{03E48706-ED28-4E40-9B7D-8C36692CE558}" dt="2023-09-20T13:19:33.704" v="49399"/>
          <ac:spMkLst>
            <pc:docMk/>
            <pc:sldMk cId="169091185" sldId="2147375775"/>
            <ac:spMk id="157" creationId="{7FE6667E-949A-3602-7053-CD983F74422A}"/>
          </ac:spMkLst>
        </pc:spChg>
        <pc:spChg chg="del mod ord">
          <ac:chgData name="Jorge Costa" userId="6f0ed375-7d90-4a84-93f2-03ffaae48f30" providerId="ADAL" clId="{03E48706-ED28-4E40-9B7D-8C36692CE558}" dt="2023-09-20T13:19:31.891" v="49143"/>
          <ac:spMkLst>
            <pc:docMk/>
            <pc:sldMk cId="169091185" sldId="2147375775"/>
            <ac:spMk id="158" creationId="{8A81D56A-E2B0-E599-9F7D-D4891CE60E35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09-28T11:11:04.878" v="99755"/>
          <ac:spMkLst>
            <pc:docMk/>
            <pc:sldMk cId="169091185" sldId="2147375775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09-28T11:11:04.876" v="99754"/>
          <ac:spMkLst>
            <pc:docMk/>
            <pc:sldMk cId="169091185" sldId="2147375775"/>
            <ac:spMk id="162" creationId="{E96C98CC-35E6-155F-A2BB-395D92252494}"/>
          </ac:spMkLst>
        </pc:spChg>
        <pc:spChg chg="del mod">
          <ac:chgData name="Jorge Costa" userId="6f0ed375-7d90-4a84-93f2-03ffaae48f30" providerId="ADAL" clId="{03E48706-ED28-4E40-9B7D-8C36692CE558}" dt="2023-09-20T13:12:04.956" v="35511"/>
          <ac:spMkLst>
            <pc:docMk/>
            <pc:sldMk cId="169091185" sldId="2147375775"/>
            <ac:spMk id="163" creationId="{254E10EB-BCA8-8A08-3626-E6483911E90A}"/>
          </ac:spMkLst>
        </pc:spChg>
        <pc:spChg chg="del mod ord">
          <ac:chgData name="Jorge Costa" userId="6f0ed375-7d90-4a84-93f2-03ffaae48f30" providerId="ADAL" clId="{03E48706-ED28-4E40-9B7D-8C36692CE558}" dt="2023-09-20T13:19:28.667" v="49011"/>
          <ac:spMkLst>
            <pc:docMk/>
            <pc:sldMk cId="169091185" sldId="2147375775"/>
            <ac:spMk id="164" creationId="{4FF065B4-47A0-6B53-19F7-A3BF3FF671EC}"/>
          </ac:spMkLst>
        </pc:spChg>
        <pc:spChg chg="del mod">
          <ac:chgData name="Jorge Costa" userId="6f0ed375-7d90-4a84-93f2-03ffaae48f30" providerId="ADAL" clId="{03E48706-ED28-4E40-9B7D-8C36692CE558}" dt="2023-09-20T13:12:04.965" v="35538"/>
          <ac:spMkLst>
            <pc:docMk/>
            <pc:sldMk cId="169091185" sldId="2147375775"/>
            <ac:spMk id="165" creationId="{9BAED334-20DC-73B3-E77A-AEC63E8C2CFA}"/>
          </ac:spMkLst>
        </pc:spChg>
        <pc:spChg chg="del mod">
          <ac:chgData name="Jorge Costa" userId="6f0ed375-7d90-4a84-93f2-03ffaae48f30" providerId="ADAL" clId="{03E48706-ED28-4E40-9B7D-8C36692CE558}" dt="2023-09-20T13:12:04.956" v="35505"/>
          <ac:spMkLst>
            <pc:docMk/>
            <pc:sldMk cId="169091185" sldId="2147375775"/>
            <ac:spMk id="166" creationId="{D62BE5C2-BE81-0EA9-A848-F3A15287E667}"/>
          </ac:spMkLst>
        </pc:spChg>
        <pc:spChg chg="mod">
          <ac:chgData name="Jorge Costa" userId="6f0ed375-7d90-4a84-93f2-03ffaae48f30" providerId="ADAL" clId="{03E48706-ED28-4E40-9B7D-8C36692CE558}" dt="2023-09-28T11:11:04.867" v="99737"/>
          <ac:spMkLst>
            <pc:docMk/>
            <pc:sldMk cId="169091185" sldId="2147375775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09-28T11:11:04.876" v="99753"/>
          <ac:spMkLst>
            <pc:docMk/>
            <pc:sldMk cId="169091185" sldId="2147375775"/>
            <ac:spMk id="168" creationId="{4748057F-0C0B-F1F8-88A7-91DA9C5AF497}"/>
          </ac:spMkLst>
        </pc:spChg>
        <pc:spChg chg="del mod">
          <ac:chgData name="Jorge Costa" userId="6f0ed375-7d90-4a84-93f2-03ffaae48f30" providerId="ADAL" clId="{03E48706-ED28-4E40-9B7D-8C36692CE558}" dt="2023-09-20T13:12:04.956" v="35497"/>
          <ac:spMkLst>
            <pc:docMk/>
            <pc:sldMk cId="169091185" sldId="2147375775"/>
            <ac:spMk id="169" creationId="{3CD5CEB9-051A-624A-F0AC-E92BB467E290}"/>
          </ac:spMkLst>
        </pc:spChg>
        <pc:spChg chg="mod">
          <ac:chgData name="Jorge Costa" userId="6f0ed375-7d90-4a84-93f2-03ffaae48f30" providerId="ADAL" clId="{03E48706-ED28-4E40-9B7D-8C36692CE558}" dt="2023-09-28T11:11:04.876" v="99752"/>
          <ac:spMkLst>
            <pc:docMk/>
            <pc:sldMk cId="169091185" sldId="2147375775"/>
            <ac:spMk id="170" creationId="{4240C9BD-DD2D-3CA5-8728-54621356617B}"/>
          </ac:spMkLst>
        </pc:spChg>
        <pc:spChg chg="del mod">
          <ac:chgData name="Jorge Costa" userId="6f0ed375-7d90-4a84-93f2-03ffaae48f30" providerId="ADAL" clId="{03E48706-ED28-4E40-9B7D-8C36692CE558}" dt="2023-09-20T13:12:04.965" v="35532"/>
          <ac:spMkLst>
            <pc:docMk/>
            <pc:sldMk cId="169091185" sldId="2147375775"/>
            <ac:spMk id="171" creationId="{0C030169-15B2-913D-AA34-B1500FDC28DD}"/>
          </ac:spMkLst>
        </pc:spChg>
        <pc:spChg chg="del mod">
          <ac:chgData name="Jorge Costa" userId="6f0ed375-7d90-4a84-93f2-03ffaae48f30" providerId="ADAL" clId="{03E48706-ED28-4E40-9B7D-8C36692CE558}" dt="2023-09-20T13:12:04.956" v="35489"/>
          <ac:spMkLst>
            <pc:docMk/>
            <pc:sldMk cId="169091185" sldId="2147375775"/>
            <ac:spMk id="172" creationId="{7A663BAD-99A8-6A3C-A68C-D50D372C9523}"/>
          </ac:spMkLst>
        </pc:spChg>
        <pc:spChg chg="add mod replST">
          <ac:chgData name="Jorge Costa" userId="6f0ed375-7d90-4a84-93f2-03ffaae48f30" providerId="ADAL" clId="{03E48706-ED28-4E40-9B7D-8C36692CE558}" dt="2023-09-28T11:11:04.867" v="99738"/>
          <ac:spMkLst>
            <pc:docMk/>
            <pc:sldMk cId="169091185" sldId="2147375775"/>
            <ac:spMk id="173" creationId="{7AF10FE1-B7CD-3BCD-6912-E6DF44DA3A86}"/>
          </ac:spMkLst>
        </pc:spChg>
        <pc:spChg chg="mod">
          <ac:chgData name="Jorge Costa" userId="6f0ed375-7d90-4a84-93f2-03ffaae48f30" providerId="ADAL" clId="{03E48706-ED28-4E40-9B7D-8C36692CE558}" dt="2023-09-28T11:11:04.885" v="99769"/>
          <ac:spMkLst>
            <pc:docMk/>
            <pc:sldMk cId="169091185" sldId="2147375775"/>
            <ac:spMk id="174" creationId="{257A72B1-B43D-7CCE-D605-973A834ED004}"/>
          </ac:spMkLst>
        </pc:spChg>
        <pc:spChg chg="del">
          <ac:chgData name="Jorge Costa" userId="6f0ed375-7d90-4a84-93f2-03ffaae48f30" providerId="ADAL" clId="{03E48706-ED28-4E40-9B7D-8C36692CE558}" dt="2023-09-20T13:10:41.678" v="34927"/>
          <ac:spMkLst>
            <pc:docMk/>
            <pc:sldMk cId="169091185" sldId="2147375775"/>
            <ac:spMk id="175" creationId="{6135BD5F-1956-A767-CC96-C4DA2DD15887}"/>
          </ac:spMkLst>
        </pc:spChg>
        <pc:spChg chg="del">
          <ac:chgData name="Jorge Costa" userId="6f0ed375-7d90-4a84-93f2-03ffaae48f30" providerId="ADAL" clId="{03E48706-ED28-4E40-9B7D-8C36692CE558}" dt="2023-09-20T13:10:41.678" v="34928"/>
          <ac:spMkLst>
            <pc:docMk/>
            <pc:sldMk cId="169091185" sldId="2147375775"/>
            <ac:spMk id="176" creationId="{04DB6562-B7D8-9BF5-16A5-49E4922F53EE}"/>
          </ac:spMkLst>
        </pc:spChg>
        <pc:spChg chg="del mod ord">
          <ac:chgData name="Jorge Costa" userId="6f0ed375-7d90-4a84-93f2-03ffaae48f30" providerId="ADAL" clId="{03E48706-ED28-4E40-9B7D-8C36692CE558}" dt="2023-09-20T13:16:37.357" v="42924"/>
          <ac:spMkLst>
            <pc:docMk/>
            <pc:sldMk cId="169091185" sldId="2147375775"/>
            <ac:spMk id="177" creationId="{70BE88DB-3441-31B7-B0D0-2A211562DC40}"/>
          </ac:spMkLst>
        </pc:spChg>
        <pc:spChg chg="mod ord">
          <ac:chgData name="Jorge Costa" userId="6f0ed375-7d90-4a84-93f2-03ffaae48f30" providerId="ADAL" clId="{03E48706-ED28-4E40-9B7D-8C36692CE558}" dt="2023-09-28T07:08:21.607" v="99066"/>
          <ac:spMkLst>
            <pc:docMk/>
            <pc:sldMk cId="169091185" sldId="2147375775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09-28T07:08:21.607" v="99068"/>
          <ac:spMkLst>
            <pc:docMk/>
            <pc:sldMk cId="169091185" sldId="2147375775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09-28T07:08:21.608" v="99070"/>
          <ac:spMkLst>
            <pc:docMk/>
            <pc:sldMk cId="169091185" sldId="2147375775"/>
            <ac:spMk id="180" creationId="{93122604-BC10-4A4C-9E24-2940B7629D74}"/>
          </ac:spMkLst>
        </pc:spChg>
        <pc:spChg chg="del mod">
          <ac:chgData name="Jorge Costa" userId="6f0ed375-7d90-4a84-93f2-03ffaae48f30" providerId="ADAL" clId="{03E48706-ED28-4E40-9B7D-8C36692CE558}" dt="2023-09-20T13:10:37.305" v="34918" actId="478"/>
          <ac:spMkLst>
            <pc:docMk/>
            <pc:sldMk cId="169091185" sldId="2147375775"/>
            <ac:spMk id="181" creationId="{50B51311-DFFD-42A2-639B-5D130373991A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2" creationId="{AED957AA-EBE5-29F6-5CE4-0E1423919956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3" creationId="{CBF7097B-2A59-9514-9799-5EF1FE7D33A7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4" creationId="{4CB33E43-2961-48B6-FF22-5EE04C697D53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5" creationId="{082A4A55-6238-79FF-34BA-3B062355C4CB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6" creationId="{574E121B-0F1D-E231-CEF6-49CCF670BCBE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7" creationId="{16BDAEAE-D8DC-4D57-1629-21B90253F6C2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8" creationId="{E48AC5B8-CEC3-5AFB-DF82-802AA0E82062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9" creationId="{D52E4797-4B09-7463-D8EB-AA654DD393B7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90" creationId="{7F991285-7C60-907E-42E9-96C72670AE63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91" creationId="{91809D6B-AE80-CA50-B0E1-F83AF89DF3F5}"/>
          </ac:spMkLst>
        </pc:spChg>
        <pc:spChg chg="del mod ord">
          <ac:chgData name="Jorge Costa" userId="6f0ed375-7d90-4a84-93f2-03ffaae48f30" providerId="ADAL" clId="{03E48706-ED28-4E40-9B7D-8C36692CE558}" dt="2023-09-28T06:55:40.666" v="95667" actId="478"/>
          <ac:spMkLst>
            <pc:docMk/>
            <pc:sldMk cId="169091185" sldId="2147375775"/>
            <ac:spMk id="192" creationId="{0238D74E-DCE0-1DBE-F7E4-ABE1FCA46D6A}"/>
          </ac:spMkLst>
        </pc:spChg>
        <pc:spChg chg="del mod ord">
          <ac:chgData name="Jorge Costa" userId="6f0ed375-7d90-4a84-93f2-03ffaae48f30" providerId="ADAL" clId="{03E48706-ED28-4E40-9B7D-8C36692CE558}" dt="2023-09-28T06:55:42.136" v="95668" actId="478"/>
          <ac:spMkLst>
            <pc:docMk/>
            <pc:sldMk cId="169091185" sldId="2147375775"/>
            <ac:spMk id="193" creationId="{58FBB731-B830-EFEA-2DDE-62475EE9125E}"/>
          </ac:spMkLst>
        </pc:spChg>
        <pc:spChg chg="mod ord">
          <ac:chgData name="Jorge Costa" userId="6f0ed375-7d90-4a84-93f2-03ffaae48f30" providerId="ADAL" clId="{03E48706-ED28-4E40-9B7D-8C36692CE558}" dt="2023-09-28T07:08:21.608" v="99072"/>
          <ac:spMkLst>
            <pc:docMk/>
            <pc:sldMk cId="169091185" sldId="2147375775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09-28T07:08:21.609" v="99074"/>
          <ac:spMkLst>
            <pc:docMk/>
            <pc:sldMk cId="169091185" sldId="2147375775"/>
            <ac:spMk id="195" creationId="{F131440F-02C5-68E7-D763-68D844A9F18E}"/>
          </ac:spMkLst>
        </pc:spChg>
        <pc:spChg chg="add mod replST">
          <ac:chgData name="Jorge Costa" userId="6f0ed375-7d90-4a84-93f2-03ffaae48f30" providerId="ADAL" clId="{03E48706-ED28-4E40-9B7D-8C36692CE558}" dt="2023-09-28T11:11:04.868" v="99739"/>
          <ac:spMkLst>
            <pc:docMk/>
            <pc:sldMk cId="169091185" sldId="2147375775"/>
            <ac:spMk id="199" creationId="{40EEFEAF-254D-5C7A-2B9F-0F919AF9B384}"/>
          </ac:spMkLst>
        </pc:spChg>
        <pc:spChg chg="del mod">
          <ac:chgData name="Jorge Costa" userId="6f0ed375-7d90-4a84-93f2-03ffaae48f30" providerId="ADAL" clId="{03E48706-ED28-4E40-9B7D-8C36692CE558}" dt="2023-09-20T13:22:10.746" v="53256"/>
          <ac:spMkLst>
            <pc:docMk/>
            <pc:sldMk cId="169091185" sldId="2147375775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3:12:33.194" v="37864"/>
          <ac:spMkLst>
            <pc:docMk/>
            <pc:sldMk cId="169091185" sldId="2147375775"/>
            <ac:spMk id="201" creationId="{D6A31FD7-06C4-96A1-BB7E-29EA1AF030DB}"/>
          </ac:spMkLst>
        </pc:spChg>
        <pc:spChg chg="del mod">
          <ac:chgData name="Jorge Costa" userId="6f0ed375-7d90-4a84-93f2-03ffaae48f30" providerId="ADAL" clId="{03E48706-ED28-4E40-9B7D-8C36692CE558}" dt="2023-09-20T13:22:10.746" v="53255"/>
          <ac:spMkLst>
            <pc:docMk/>
            <pc:sldMk cId="169091185" sldId="2147375775"/>
            <ac:spMk id="202" creationId="{4988A60A-1757-98EB-D487-0DA0CC9344D3}"/>
          </ac:spMkLst>
        </pc:spChg>
        <pc:spChg chg="del mod">
          <ac:chgData name="Jorge Costa" userId="6f0ed375-7d90-4a84-93f2-03ffaae48f30" providerId="ADAL" clId="{03E48706-ED28-4E40-9B7D-8C36692CE558}" dt="2023-09-20T13:22:10.746" v="53258"/>
          <ac:spMkLst>
            <pc:docMk/>
            <pc:sldMk cId="169091185" sldId="2147375775"/>
            <ac:spMk id="203" creationId="{518E449A-4EFB-B24D-8000-A69686CD8650}"/>
          </ac:spMkLst>
        </pc:spChg>
        <pc:spChg chg="add mod replST">
          <ac:chgData name="Jorge Costa" userId="6f0ed375-7d90-4a84-93f2-03ffaae48f30" providerId="ADAL" clId="{03E48706-ED28-4E40-9B7D-8C36692CE558}" dt="2023-09-28T11:11:04.869" v="99742"/>
          <ac:spMkLst>
            <pc:docMk/>
            <pc:sldMk cId="169091185" sldId="2147375775"/>
            <ac:spMk id="206" creationId="{894DAD30-7813-6E94-5ABF-1E3DF6DB8418}"/>
          </ac:spMkLst>
        </pc:spChg>
        <pc:spChg chg="add mod replST">
          <ac:chgData name="Jorge Costa" userId="6f0ed375-7d90-4a84-93f2-03ffaae48f30" providerId="ADAL" clId="{03E48706-ED28-4E40-9B7D-8C36692CE558}" dt="2023-09-28T11:11:04.870" v="99743"/>
          <ac:spMkLst>
            <pc:docMk/>
            <pc:sldMk cId="169091185" sldId="2147375775"/>
            <ac:spMk id="207" creationId="{850F9517-ECFB-E488-B468-E33A5F6BB095}"/>
          </ac:spMkLst>
        </pc:spChg>
        <pc:spChg chg="add del mod modVis">
          <ac:chgData name="Jorge Costa" userId="6f0ed375-7d90-4a84-93f2-03ffaae48f30" providerId="ADAL" clId="{03E48706-ED28-4E40-9B7D-8C36692CE558}" dt="2023-09-20T13:12:36.761" v="38412"/>
          <ac:spMkLst>
            <pc:docMk/>
            <pc:sldMk cId="169091185" sldId="2147375775"/>
            <ac:spMk id="208" creationId="{200E4478-1101-3A83-F7B7-576110578C33}"/>
          </ac:spMkLst>
        </pc:spChg>
        <pc:spChg chg="add mod replST">
          <ac:chgData name="Jorge Costa" userId="6f0ed375-7d90-4a84-93f2-03ffaae48f30" providerId="ADAL" clId="{03E48706-ED28-4E40-9B7D-8C36692CE558}" dt="2023-09-28T11:11:04.868" v="99740"/>
          <ac:spMkLst>
            <pc:docMk/>
            <pc:sldMk cId="169091185" sldId="2147375775"/>
            <ac:spMk id="209" creationId="{BA5B6B01-D73F-75C5-D489-B3ECAA379034}"/>
          </ac:spMkLst>
        </pc:spChg>
        <pc:spChg chg="add mod replST">
          <ac:chgData name="Jorge Costa" userId="6f0ed375-7d90-4a84-93f2-03ffaae48f30" providerId="ADAL" clId="{03E48706-ED28-4E40-9B7D-8C36692CE558}" dt="2023-09-28T11:11:04.869" v="99741"/>
          <ac:spMkLst>
            <pc:docMk/>
            <pc:sldMk cId="169091185" sldId="2147375775"/>
            <ac:spMk id="210" creationId="{8CD50C0A-0215-2DF6-9B20-64FB758324BB}"/>
          </ac:spMkLst>
        </pc:spChg>
        <pc:spChg chg="add del mod modVis">
          <ac:chgData name="Jorge Costa" userId="6f0ed375-7d90-4a84-93f2-03ffaae48f30" providerId="ADAL" clId="{03E48706-ED28-4E40-9B7D-8C36692CE558}" dt="2023-09-20T13:12:38.828" v="38968"/>
          <ac:spMkLst>
            <pc:docMk/>
            <pc:sldMk cId="169091185" sldId="2147375775"/>
            <ac:spMk id="211" creationId="{87A03939-DCC8-4C5A-7378-C555853B9981}"/>
          </ac:spMkLst>
        </pc:spChg>
        <pc:spChg chg="add mod replST">
          <ac:chgData name="Jorge Costa" userId="6f0ed375-7d90-4a84-93f2-03ffaae48f30" providerId="ADAL" clId="{03E48706-ED28-4E40-9B7D-8C36692CE558}" dt="2023-09-28T11:11:04.878" v="99758"/>
          <ac:spMkLst>
            <pc:docMk/>
            <pc:sldMk cId="169091185" sldId="2147375775"/>
            <ac:spMk id="212" creationId="{21F5BB6B-DA6C-93B8-83FE-04433C6F3A71}"/>
          </ac:spMkLst>
        </pc:spChg>
        <pc:spChg chg="add mod replST">
          <ac:chgData name="Jorge Costa" userId="6f0ed375-7d90-4a84-93f2-03ffaae48f30" providerId="ADAL" clId="{03E48706-ED28-4E40-9B7D-8C36692CE558}" dt="2023-09-28T11:11:04.880" v="99759"/>
          <ac:spMkLst>
            <pc:docMk/>
            <pc:sldMk cId="169091185" sldId="2147375775"/>
            <ac:spMk id="213" creationId="{917C34F6-2326-93A7-D8E1-F94B0B121E1D}"/>
          </ac:spMkLst>
        </pc:spChg>
        <pc:spChg chg="add del mod modVis">
          <ac:chgData name="Jorge Costa" userId="6f0ed375-7d90-4a84-93f2-03ffaae48f30" providerId="ADAL" clId="{03E48706-ED28-4E40-9B7D-8C36692CE558}" dt="2023-09-20T13:16:15.099" v="41010"/>
          <ac:spMkLst>
            <pc:docMk/>
            <pc:sldMk cId="169091185" sldId="2147375775"/>
            <ac:spMk id="214" creationId="{F72AD3E5-38AE-CFBB-BCA3-468685C7CD4F}"/>
          </ac:spMkLst>
        </pc:spChg>
        <pc:spChg chg="add del mod replST">
          <ac:chgData name="Jorge Costa" userId="6f0ed375-7d90-4a84-93f2-03ffaae48f30" providerId="ADAL" clId="{03E48706-ED28-4E40-9B7D-8C36692CE558}" dt="2023-09-28T06:48:23.387" v="87037"/>
          <ac:spMkLst>
            <pc:docMk/>
            <pc:sldMk cId="169091185" sldId="2147375775"/>
            <ac:spMk id="215" creationId="{7C937808-7BF3-5249-55ED-A4646D67F0C0}"/>
          </ac:spMkLst>
        </pc:spChg>
        <pc:spChg chg="add del mod replST">
          <ac:chgData name="Jorge Costa" userId="6f0ed375-7d90-4a84-93f2-03ffaae48f30" providerId="ADAL" clId="{03E48706-ED28-4E40-9B7D-8C36692CE558}" dt="2023-09-28T06:48:23.387" v="87036"/>
          <ac:spMkLst>
            <pc:docMk/>
            <pc:sldMk cId="169091185" sldId="2147375775"/>
            <ac:spMk id="216" creationId="{2F7F80AF-435F-72D2-E3A9-B0B7A1C58E02}"/>
          </ac:spMkLst>
        </pc:spChg>
        <pc:spChg chg="add del mod modVis">
          <ac:chgData name="Jorge Costa" userId="6f0ed375-7d90-4a84-93f2-03ffaae48f30" providerId="ADAL" clId="{03E48706-ED28-4E40-9B7D-8C36692CE558}" dt="2023-09-20T13:16:17.103" v="41582"/>
          <ac:spMkLst>
            <pc:docMk/>
            <pc:sldMk cId="169091185" sldId="2147375775"/>
            <ac:spMk id="217" creationId="{E366F154-E797-4F3B-E929-3319FB839B6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18" creationId="{79D6D7FE-B1F1-AA27-64EE-AF749B104A05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0"/>
          <ac:spMkLst>
            <pc:docMk/>
            <pc:sldMk cId="169091185" sldId="2147375775"/>
            <ac:spMk id="219" creationId="{C12D7DE2-165F-0463-1B24-131D7FF67B2D}"/>
          </ac:spMkLst>
        </pc:spChg>
        <pc:spChg chg="mod ord">
          <ac:chgData name="Jorge Costa" userId="6f0ed375-7d90-4a84-93f2-03ffaae48f30" providerId="ADAL" clId="{03E48706-ED28-4E40-9B7D-8C36692CE558}" dt="2023-09-28T07:08:21.587" v="99002"/>
          <ac:spMkLst>
            <pc:docMk/>
            <pc:sldMk cId="169091185" sldId="2147375775"/>
            <ac:spMk id="220" creationId="{6D78526E-2B10-88C3-6768-7BDAB7F75759}"/>
          </ac:spMkLst>
        </pc:spChg>
        <pc:spChg chg="del mod ord">
          <ac:chgData name="Jorge Costa" userId="6f0ed375-7d90-4a84-93f2-03ffaae48f30" providerId="ADAL" clId="{03E48706-ED28-4E40-9B7D-8C36692CE558}" dt="2023-09-20T13:18:49.283" v="47779"/>
          <ac:spMkLst>
            <pc:docMk/>
            <pc:sldMk cId="169091185" sldId="2147375775"/>
            <ac:spMk id="224" creationId="{DD73329F-9C72-487D-A4B2-CD5125678B41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1"/>
          <ac:spMkLst>
            <pc:docMk/>
            <pc:sldMk cId="169091185" sldId="2147375775"/>
            <ac:spMk id="225" creationId="{B910A2BF-47B6-01B4-31F7-114FCA48B4CE}"/>
          </ac:spMkLst>
        </pc:spChg>
        <pc:spChg chg="del mod">
          <ac:chgData name="Jorge Costa" userId="6f0ed375-7d90-4a84-93f2-03ffaae48f30" providerId="ADAL" clId="{03E48706-ED28-4E40-9B7D-8C36692CE558}" dt="2023-09-20T13:18:49.283" v="47777"/>
          <ac:spMkLst>
            <pc:docMk/>
            <pc:sldMk cId="169091185" sldId="2147375775"/>
            <ac:spMk id="226" creationId="{DBCE3456-F5D8-C668-41BC-178A87217E67}"/>
          </ac:spMkLst>
        </pc:spChg>
        <pc:spChg chg="del mod ord">
          <ac:chgData name="Jorge Costa" userId="6f0ed375-7d90-4a84-93f2-03ffaae48f30" providerId="ADAL" clId="{03E48706-ED28-4E40-9B7D-8C36692CE558}" dt="2023-09-20T13:18:49.283" v="47776"/>
          <ac:spMkLst>
            <pc:docMk/>
            <pc:sldMk cId="169091185" sldId="2147375775"/>
            <ac:spMk id="227" creationId="{6D4821E5-F133-CFDE-9AC1-101958F0C048}"/>
          </ac:spMkLst>
        </pc:spChg>
        <pc:spChg chg="mod ord">
          <ac:chgData name="Jorge Costa" userId="6f0ed375-7d90-4a84-93f2-03ffaae48f30" providerId="ADAL" clId="{03E48706-ED28-4E40-9B7D-8C36692CE558}" dt="2023-09-28T07:09:46.504" v="99295"/>
          <ac:spMkLst>
            <pc:docMk/>
            <pc:sldMk cId="169091185" sldId="2147375775"/>
            <ac:spMk id="228" creationId="{D66CAD60-6DC1-2BC1-F0D1-6A99429942FA}"/>
          </ac:spMkLst>
        </pc:spChg>
        <pc:spChg chg="add del mod modVis">
          <ac:chgData name="Jorge Costa" userId="6f0ed375-7d90-4a84-93f2-03ffaae48f30" providerId="ADAL" clId="{03E48706-ED28-4E40-9B7D-8C36692CE558}" dt="2023-09-20T13:16:18.783" v="42162"/>
          <ac:spMkLst>
            <pc:docMk/>
            <pc:sldMk cId="169091185" sldId="2147375775"/>
            <ac:spMk id="229" creationId="{FCE334FA-4E2B-6D0D-5525-B19234E36792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31" creationId="{99C41708-698B-72FB-A368-5693C925C815}"/>
          </ac:spMkLst>
        </pc:spChg>
        <pc:spChg chg="add del mod modVis">
          <ac:chgData name="Jorge Costa" userId="6f0ed375-7d90-4a84-93f2-03ffaae48f30" providerId="ADAL" clId="{03E48706-ED28-4E40-9B7D-8C36692CE558}" dt="2023-09-20T13:17:33.053" v="44681"/>
          <ac:spMkLst>
            <pc:docMk/>
            <pc:sldMk cId="169091185" sldId="2147375775"/>
            <ac:spMk id="232" creationId="{02C4EA21-A1E8-B835-02BC-052B91573D3C}"/>
          </ac:spMkLst>
        </pc:spChg>
        <pc:spChg chg="add mod ord replST">
          <ac:chgData name="Jorge Costa" userId="6f0ed375-7d90-4a84-93f2-03ffaae48f30" providerId="ADAL" clId="{03E48706-ED28-4E40-9B7D-8C36692CE558}" dt="2023-09-28T07:08:21.586" v="98998"/>
          <ac:spMkLst>
            <pc:docMk/>
            <pc:sldMk cId="169091185" sldId="2147375775"/>
            <ac:spMk id="233" creationId="{E46C6C3C-AAD0-D194-8350-89E820355154}"/>
          </ac:spMkLst>
        </pc:spChg>
        <pc:spChg chg="add del mod modVis">
          <ac:chgData name="Jorge Costa" userId="6f0ed375-7d90-4a84-93f2-03ffaae48f30" providerId="ADAL" clId="{03E48706-ED28-4E40-9B7D-8C36692CE558}" dt="2023-09-20T13:18:44.847" v="47772"/>
          <ac:spMkLst>
            <pc:docMk/>
            <pc:sldMk cId="169091185" sldId="2147375775"/>
            <ac:spMk id="241" creationId="{3FEE8E42-DCA2-EACB-62E0-C60171C5EC8C}"/>
          </ac:spMkLst>
        </pc:spChg>
        <pc:spChg chg="add del mod ord replST">
          <ac:chgData name="Jorge Costa" userId="6f0ed375-7d90-4a84-93f2-03ffaae48f30" providerId="ADAL" clId="{03E48706-ED28-4E40-9B7D-8C36692CE558}" dt="2023-09-28T06:51:22.742" v="92283"/>
          <ac:spMkLst>
            <pc:docMk/>
            <pc:sldMk cId="169091185" sldId="2147375775"/>
            <ac:spMk id="242" creationId="{60CF26F3-96A8-0839-B6AB-0DC5793B1B7E}"/>
          </ac:spMkLst>
        </pc:spChg>
        <pc:spChg chg="add del mod ord replST">
          <ac:chgData name="Jorge Costa" userId="6f0ed375-7d90-4a84-93f2-03ffaae48f30" providerId="ADAL" clId="{03E48706-ED28-4E40-9B7D-8C36692CE558}" dt="2023-09-20T13:26:59.691" v="56323"/>
          <ac:spMkLst>
            <pc:docMk/>
            <pc:sldMk cId="169091185" sldId="2147375775"/>
            <ac:spMk id="243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25:57.711" v="55537"/>
          <ac:spMkLst>
            <pc:docMk/>
            <pc:sldMk cId="169091185" sldId="2147375775"/>
            <ac:spMk id="244" creationId="{01204037-15C0-F445-458F-5596409C6502}"/>
          </ac:spMkLst>
        </pc:spChg>
        <pc:spChg chg="add del mod ord replST">
          <ac:chgData name="Jorge Costa" userId="6f0ed375-7d90-4a84-93f2-03ffaae48f30" providerId="ADAL" clId="{03E48706-ED28-4E40-9B7D-8C36692CE558}" dt="2023-09-28T06:49:42" v="90681"/>
          <ac:spMkLst>
            <pc:docMk/>
            <pc:sldMk cId="169091185" sldId="2147375775"/>
            <ac:spMk id="245" creationId="{053E68FA-CFDF-93E7-E9C2-34EE195C5F73}"/>
          </ac:spMkLst>
        </pc:spChg>
        <pc:spChg chg="add del mod modVis">
          <ac:chgData name="Jorge Costa" userId="6f0ed375-7d90-4a84-93f2-03ffaae48f30" providerId="ADAL" clId="{03E48706-ED28-4E40-9B7D-8C36692CE558}" dt="2023-09-20T13:26:00.334" v="55655"/>
          <ac:spMkLst>
            <pc:docMk/>
            <pc:sldMk cId="169091185" sldId="2147375775"/>
            <ac:spMk id="246" creationId="{8FA696CD-1AAB-44DA-C37C-09D149CC6568}"/>
          </ac:spMkLst>
        </pc:spChg>
        <pc:spChg chg="add del mod modVis">
          <ac:chgData name="Jorge Costa" userId="6f0ed375-7d90-4a84-93f2-03ffaae48f30" providerId="ADAL" clId="{03E48706-ED28-4E40-9B7D-8C36692CE558}" dt="2023-09-20T13:26:02.562" v="55773"/>
          <ac:spMkLst>
            <pc:docMk/>
            <pc:sldMk cId="169091185" sldId="2147375775"/>
            <ac:spMk id="247" creationId="{3D7482C0-2C3B-1E28-1DC7-D59CEF38DD9A}"/>
          </ac:spMkLst>
        </pc:spChg>
        <pc:spChg chg="add del mod ord replST">
          <ac:chgData name="Jorge Costa" userId="6f0ed375-7d90-4a84-93f2-03ffaae48f30" providerId="ADAL" clId="{03E48706-ED28-4E40-9B7D-8C36692CE558}" dt="2023-09-28T06:57:27.370" v="97047"/>
          <ac:spMkLst>
            <pc:docMk/>
            <pc:sldMk cId="169091185" sldId="2147375775"/>
            <ac:spMk id="248" creationId="{F7F321CC-ADD7-4C6E-6537-D00A8015E824}"/>
          </ac:spMkLst>
        </pc:spChg>
        <pc:spChg chg="add mod ord replST">
          <ac:chgData name="Jorge Costa" userId="6f0ed375-7d90-4a84-93f2-03ffaae48f30" providerId="ADAL" clId="{03E48706-ED28-4E40-9B7D-8C36692CE558}" dt="2023-09-28T11:13:12.547" v="99856"/>
          <ac:spMkLst>
            <pc:docMk/>
            <pc:sldMk cId="169091185" sldId="2147375775"/>
            <ac:spMk id="249" creationId="{08C8FAA5-ED6C-3FBA-4B8E-29DC0E7B6DFA}"/>
          </ac:spMkLst>
        </pc:spChg>
        <pc:spChg chg="add del mod ord replST">
          <ac:chgData name="Jorge Costa" userId="6f0ed375-7d90-4a84-93f2-03ffaae48f30" providerId="ADAL" clId="{03E48706-ED28-4E40-9B7D-8C36692CE558}" dt="2023-09-28T06:48:23.387" v="87035"/>
          <ac:spMkLst>
            <pc:docMk/>
            <pc:sldMk cId="169091185" sldId="2147375775"/>
            <ac:spMk id="250" creationId="{8D6F594E-098F-016B-4226-D2CBFE98D3DF}"/>
          </ac:spMkLst>
        </pc:spChg>
        <pc:spChg chg="add del mod ord replST">
          <ac:chgData name="Jorge Costa" userId="6f0ed375-7d90-4a84-93f2-03ffaae48f30" providerId="ADAL" clId="{03E48706-ED28-4E40-9B7D-8C36692CE558}" dt="2023-09-20T14:42:25.701" v="77191"/>
          <ac:spMkLst>
            <pc:docMk/>
            <pc:sldMk cId="169091185" sldId="2147375775"/>
            <ac:spMk id="251" creationId="{2F5813C6-2CC3-3274-01DF-E5C23A0C34F5}"/>
          </ac:spMkLst>
        </pc:spChg>
        <pc:spChg chg="add mod ord replST">
          <ac:chgData name="Jorge Costa" userId="6f0ed375-7d90-4a84-93f2-03ffaae48f30" providerId="ADAL" clId="{03E48706-ED28-4E40-9B7D-8C36692CE558}" dt="2023-09-28T11:13:11.417" v="99834"/>
          <ac:spMkLst>
            <pc:docMk/>
            <pc:sldMk cId="169091185" sldId="2147375775"/>
            <ac:spMk id="252" creationId="{272EB058-B658-E755-36F2-69D0916558B9}"/>
          </ac:spMkLst>
        </pc:spChg>
        <pc:spChg chg="add del mod ord replST">
          <ac:chgData name="Jorge Costa" userId="6f0ed375-7d90-4a84-93f2-03ffaae48f30" providerId="ADAL" clId="{03E48706-ED28-4E40-9B7D-8C36692CE558}" dt="2023-09-20T13:30:47.934" v="59784"/>
          <ac:spMkLst>
            <pc:docMk/>
            <pc:sldMk cId="169091185" sldId="2147375775"/>
            <ac:spMk id="253" creationId="{6D764191-AE11-49FB-AA70-887F96635F16}"/>
          </ac:spMkLst>
        </pc:spChg>
        <pc:spChg chg="add del mod ord replST">
          <ac:chgData name="Jorge Costa" userId="6f0ed375-7d90-4a84-93f2-03ffaae48f30" providerId="ADAL" clId="{03E48706-ED28-4E40-9B7D-8C36692CE558}" dt="2023-09-20T13:32:53.420" v="60981"/>
          <ac:spMkLst>
            <pc:docMk/>
            <pc:sldMk cId="169091185" sldId="2147375775"/>
            <ac:spMk id="254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32:36.695" v="60782"/>
          <ac:spMkLst>
            <pc:docMk/>
            <pc:sldMk cId="169091185" sldId="2147375775"/>
            <ac:spMk id="255" creationId="{D7D34DA6-9FF7-F48A-9629-5277D9A01E76}"/>
          </ac:spMkLst>
        </pc:spChg>
        <pc:spChg chg="add mod ord replST">
          <ac:chgData name="Jorge Costa" userId="6f0ed375-7d90-4a84-93f2-03ffaae48f30" providerId="ADAL" clId="{03E48706-ED28-4E40-9B7D-8C36692CE558}" dt="2023-09-28T07:08:21.576" v="98963"/>
          <ac:spMkLst>
            <pc:docMk/>
            <pc:sldMk cId="169091185" sldId="2147375775"/>
            <ac:spMk id="256" creationId="{E790CE0B-0FB4-FF3E-7074-B71D0F7ED886}"/>
          </ac:spMkLst>
        </pc:spChg>
        <pc:spChg chg="add del mod modVis">
          <ac:chgData name="Jorge Costa" userId="6f0ed375-7d90-4a84-93f2-03ffaae48f30" providerId="ADAL" clId="{03E48706-ED28-4E40-9B7D-8C36692CE558}" dt="2023-09-20T13:32:38.865" v="60913"/>
          <ac:spMkLst>
            <pc:docMk/>
            <pc:sldMk cId="169091185" sldId="2147375775"/>
            <ac:spMk id="257" creationId="{227690E6-EF80-5657-13CD-1535BA7D59E2}"/>
          </ac:spMkLst>
        </pc:spChg>
        <pc:spChg chg="add del mod modVis">
          <ac:chgData name="Jorge Costa" userId="6f0ed375-7d90-4a84-93f2-03ffaae48f30" providerId="ADAL" clId="{03E48706-ED28-4E40-9B7D-8C36692CE558}" dt="2023-09-20T13:32:56.905" v="61082"/>
          <ac:spMkLst>
            <pc:docMk/>
            <pc:sldMk cId="169091185" sldId="2147375775"/>
            <ac:spMk id="258" creationId="{2D2F66D7-7847-A288-68A3-84A228B12D82}"/>
          </ac:spMkLst>
        </pc:spChg>
        <pc:spChg chg="add del mod modVis">
          <ac:chgData name="Jorge Costa" userId="6f0ed375-7d90-4a84-93f2-03ffaae48f30" providerId="ADAL" clId="{03E48706-ED28-4E40-9B7D-8C36692CE558}" dt="2023-09-20T13:33:03.340" v="61161"/>
          <ac:spMkLst>
            <pc:docMk/>
            <pc:sldMk cId="169091185" sldId="2147375775"/>
            <ac:spMk id="259" creationId="{FC14AEF1-84AB-36A4-F41A-A47907BB2E0B}"/>
          </ac:spMkLst>
        </pc:spChg>
        <pc:spChg chg="add del mod modVis">
          <ac:chgData name="Jorge Costa" userId="6f0ed375-7d90-4a84-93f2-03ffaae48f30" providerId="ADAL" clId="{03E48706-ED28-4E40-9B7D-8C36692CE558}" dt="2023-09-20T13:33:04.484" v="61207"/>
          <ac:spMkLst>
            <pc:docMk/>
            <pc:sldMk cId="169091185" sldId="2147375775"/>
            <ac:spMk id="260" creationId="{AE93A5DB-218B-1F7B-7D01-91A527604378}"/>
          </ac:spMkLst>
        </pc:spChg>
        <pc:spChg chg="add mod ord replST">
          <ac:chgData name="Jorge Costa" userId="6f0ed375-7d90-4a84-93f2-03ffaae48f30" providerId="ADAL" clId="{03E48706-ED28-4E40-9B7D-8C36692CE558}" dt="2023-09-28T07:08:21.578" v="98971"/>
          <ac:spMkLst>
            <pc:docMk/>
            <pc:sldMk cId="169091185" sldId="2147375775"/>
            <ac:spMk id="261" creationId="{A643FC65-CE93-41EA-0045-BB38D4EC9B69}"/>
          </ac:spMkLst>
        </pc:spChg>
        <pc:spChg chg="add mod ord replST">
          <ac:chgData name="Jorge Costa" userId="6f0ed375-7d90-4a84-93f2-03ffaae48f30" providerId="ADAL" clId="{03E48706-ED28-4E40-9B7D-8C36692CE558}" dt="2023-09-28T07:08:21.582" v="98981"/>
          <ac:spMkLst>
            <pc:docMk/>
            <pc:sldMk cId="169091185" sldId="2147375775"/>
            <ac:spMk id="262" creationId="{7C9CD783-CB7B-749E-5B5D-05D34934C419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63" creationId="{478FF208-C51C-ED80-6E54-9C47200F723A}"/>
          </ac:spMkLst>
        </pc:spChg>
        <pc:spChg chg="add del mod ord replST">
          <ac:chgData name="Jorge Costa" userId="6f0ed375-7d90-4a84-93f2-03ffaae48f30" providerId="ADAL" clId="{03E48706-ED28-4E40-9B7D-8C36692CE558}" dt="2023-09-28T06:48:20.303" v="86802"/>
          <ac:spMkLst>
            <pc:docMk/>
            <pc:sldMk cId="169091185" sldId="2147375775"/>
            <ac:spMk id="264" creationId="{703BCD2B-AE8E-F04F-1FC4-862C32CD8618}"/>
          </ac:spMkLst>
        </pc:spChg>
        <pc:spChg chg="add mod replST">
          <ac:chgData name="Jorge Costa" userId="6f0ed375-7d90-4a84-93f2-03ffaae48f30" providerId="ADAL" clId="{03E48706-ED28-4E40-9B7D-8C36692CE558}" dt="2023-09-28T11:11:04.871" v="99744"/>
          <ac:spMkLst>
            <pc:docMk/>
            <pc:sldMk cId="169091185" sldId="2147375775"/>
            <ac:spMk id="265" creationId="{92FD06B6-4DCF-7E96-BD48-1A740B57B92E}"/>
          </ac:spMkLst>
        </pc:spChg>
        <pc:spChg chg="add mod replST">
          <ac:chgData name="Jorge Costa" userId="6f0ed375-7d90-4a84-93f2-03ffaae48f30" providerId="ADAL" clId="{03E48706-ED28-4E40-9B7D-8C36692CE558}" dt="2023-09-28T11:11:04.871" v="99745"/>
          <ac:spMkLst>
            <pc:docMk/>
            <pc:sldMk cId="169091185" sldId="2147375775"/>
            <ac:spMk id="266" creationId="{1559256F-F20E-8798-9DB7-0C82D329BCFD}"/>
          </ac:spMkLst>
        </pc:spChg>
        <pc:spChg chg="add del mod modVis">
          <ac:chgData name="Jorge Costa" userId="6f0ed375-7d90-4a84-93f2-03ffaae48f30" providerId="ADAL" clId="{03E48706-ED28-4E40-9B7D-8C36692CE558}" dt="2023-09-20T13:39:44.093" v="63823"/>
          <ac:spMkLst>
            <pc:docMk/>
            <pc:sldMk cId="169091185" sldId="2147375775"/>
            <ac:spMk id="267" creationId="{F05DDB39-F9E3-9300-BD58-BF7BABCC9398}"/>
          </ac:spMkLst>
        </pc:spChg>
        <pc:spChg chg="add mod replST">
          <ac:chgData name="Jorge Costa" userId="6f0ed375-7d90-4a84-93f2-03ffaae48f30" providerId="ADAL" clId="{03E48706-ED28-4E40-9B7D-8C36692CE558}" dt="2023-09-28T11:11:04.872" v="99746"/>
          <ac:spMkLst>
            <pc:docMk/>
            <pc:sldMk cId="169091185" sldId="2147375775"/>
            <ac:spMk id="268" creationId="{CCC2D123-7072-1AEF-B6A7-A363D0821BD5}"/>
          </ac:spMkLst>
        </pc:spChg>
        <pc:spChg chg="add mod replST">
          <ac:chgData name="Jorge Costa" userId="6f0ed375-7d90-4a84-93f2-03ffaae48f30" providerId="ADAL" clId="{03E48706-ED28-4E40-9B7D-8C36692CE558}" dt="2023-09-28T11:11:04.873" v="99747"/>
          <ac:spMkLst>
            <pc:docMk/>
            <pc:sldMk cId="169091185" sldId="2147375775"/>
            <ac:spMk id="269" creationId="{170C7B49-D17A-9446-9CC7-A2F45A486240}"/>
          </ac:spMkLst>
        </pc:spChg>
        <pc:spChg chg="add del mod modVis">
          <ac:chgData name="Jorge Costa" userId="6f0ed375-7d90-4a84-93f2-03ffaae48f30" providerId="ADAL" clId="{03E48706-ED28-4E40-9B7D-8C36692CE558}" dt="2023-09-20T13:39:47.097" v="64267"/>
          <ac:spMkLst>
            <pc:docMk/>
            <pc:sldMk cId="169091185" sldId="2147375775"/>
            <ac:spMk id="270" creationId="{596F6E4B-9F72-3C77-DC03-E6F60A571206}"/>
          </ac:spMkLst>
        </pc:spChg>
        <pc:spChg chg="add mod replST">
          <ac:chgData name="Jorge Costa" userId="6f0ed375-7d90-4a84-93f2-03ffaae48f30" providerId="ADAL" clId="{03E48706-ED28-4E40-9B7D-8C36692CE558}" dt="2023-09-28T11:11:04.874" v="99750"/>
          <ac:spMkLst>
            <pc:docMk/>
            <pc:sldMk cId="169091185" sldId="2147375775"/>
            <ac:spMk id="271" creationId="{6A0DF490-A9A0-1972-FBF8-0ABA7F171A41}"/>
          </ac:spMkLst>
        </pc:spChg>
        <pc:spChg chg="add mod replST">
          <ac:chgData name="Jorge Costa" userId="6f0ed375-7d90-4a84-93f2-03ffaae48f30" providerId="ADAL" clId="{03E48706-ED28-4E40-9B7D-8C36692CE558}" dt="2023-09-28T11:11:04.876" v="99751"/>
          <ac:spMkLst>
            <pc:docMk/>
            <pc:sldMk cId="169091185" sldId="2147375775"/>
            <ac:spMk id="272" creationId="{833E35FD-361D-C41E-EB00-AF9C6151E619}"/>
          </ac:spMkLst>
        </pc:spChg>
        <pc:spChg chg="add del mod modVis">
          <ac:chgData name="Jorge Costa" userId="6f0ed375-7d90-4a84-93f2-03ffaae48f30" providerId="ADAL" clId="{03E48706-ED28-4E40-9B7D-8C36692CE558}" dt="2023-09-20T13:41:16.076" v="65485"/>
          <ac:spMkLst>
            <pc:docMk/>
            <pc:sldMk cId="169091185" sldId="2147375775"/>
            <ac:spMk id="273" creationId="{01B54F07-27B5-01F1-7819-03433BA238C5}"/>
          </ac:spMkLst>
        </pc:spChg>
        <pc:spChg chg="add mod replST">
          <ac:chgData name="Jorge Costa" userId="6f0ed375-7d90-4a84-93f2-03ffaae48f30" providerId="ADAL" clId="{03E48706-ED28-4E40-9B7D-8C36692CE558}" dt="2023-09-28T11:11:04.873" v="99748"/>
          <ac:spMkLst>
            <pc:docMk/>
            <pc:sldMk cId="169091185" sldId="2147375775"/>
            <ac:spMk id="274" creationId="{70438977-0367-9BDF-A394-FE015170C131}"/>
          </ac:spMkLst>
        </pc:spChg>
        <pc:spChg chg="add mod replST">
          <ac:chgData name="Jorge Costa" userId="6f0ed375-7d90-4a84-93f2-03ffaae48f30" providerId="ADAL" clId="{03E48706-ED28-4E40-9B7D-8C36692CE558}" dt="2023-09-28T11:11:04.874" v="99749"/>
          <ac:spMkLst>
            <pc:docMk/>
            <pc:sldMk cId="169091185" sldId="2147375775"/>
            <ac:spMk id="275" creationId="{1CBDE126-E161-E13C-EBB5-4D8F36F097C8}"/>
          </ac:spMkLst>
        </pc:spChg>
        <pc:spChg chg="add del mod modVis">
          <ac:chgData name="Jorge Costa" userId="6f0ed375-7d90-4a84-93f2-03ffaae48f30" providerId="ADAL" clId="{03E48706-ED28-4E40-9B7D-8C36692CE558}" dt="2023-09-20T13:42:34.166" v="66759"/>
          <ac:spMkLst>
            <pc:docMk/>
            <pc:sldMk cId="169091185" sldId="2147375775"/>
            <ac:spMk id="276" creationId="{4104A3FA-D0CE-264D-71F9-D6B3DCA8AFBC}"/>
          </ac:spMkLst>
        </pc:spChg>
        <pc:spChg chg="add mod ord replST">
          <ac:chgData name="Jorge Costa" userId="6f0ed375-7d90-4a84-93f2-03ffaae48f30" providerId="ADAL" clId="{03E48706-ED28-4E40-9B7D-8C36692CE558}" dt="2023-09-28T07:08:21.580" v="98977"/>
          <ac:spMkLst>
            <pc:docMk/>
            <pc:sldMk cId="169091185" sldId="2147375775"/>
            <ac:spMk id="277" creationId="{5B97176E-70D3-F96E-B388-E353E85E17EB}"/>
          </ac:spMkLst>
        </pc:spChg>
        <pc:spChg chg="add mod ord replST">
          <ac:chgData name="Jorge Costa" userId="6f0ed375-7d90-4a84-93f2-03ffaae48f30" providerId="ADAL" clId="{03E48706-ED28-4E40-9B7D-8C36692CE558}" dt="2023-09-28T07:08:21.579" v="98975"/>
          <ac:spMkLst>
            <pc:docMk/>
            <pc:sldMk cId="169091185" sldId="2147375775"/>
            <ac:spMk id="278" creationId="{CB516C47-F515-0FED-DA20-4059EF55EF99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79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45:56.911" v="68405"/>
          <ac:spMkLst>
            <pc:docMk/>
            <pc:sldMk cId="169091185" sldId="2147375775"/>
            <ac:spMk id="280" creationId="{CB63D129-EBC5-FB80-1319-103BB4AA1D0D}"/>
          </ac:spMkLst>
        </pc:spChg>
        <pc:spChg chg="add mod ord replST">
          <ac:chgData name="Jorge Costa" userId="6f0ed375-7d90-4a84-93f2-03ffaae48f30" providerId="ADAL" clId="{03E48706-ED28-4E40-9B7D-8C36692CE558}" dt="2023-09-28T07:15:44.379" v="99441"/>
          <ac:spMkLst>
            <pc:docMk/>
            <pc:sldMk cId="169091185" sldId="2147375775"/>
            <ac:spMk id="281" creationId="{5E1CD2B4-AA0D-072D-E08B-67B0FC2817A0}"/>
          </ac:spMkLst>
        </pc:spChg>
        <pc:spChg chg="add mod ord replST">
          <ac:chgData name="Jorge Costa" userId="6f0ed375-7d90-4a84-93f2-03ffaae48f30" providerId="ADAL" clId="{03E48706-ED28-4E40-9B7D-8C36692CE558}" dt="2023-09-28T07:08:21.576" v="98967"/>
          <ac:spMkLst>
            <pc:docMk/>
            <pc:sldMk cId="169091185" sldId="2147375775"/>
            <ac:spMk id="282" creationId="{2BBC97CA-8992-FCF0-4F63-B4901240A34C}"/>
          </ac:spMkLst>
        </pc:spChg>
        <pc:spChg chg="add mod ord replST">
          <ac:chgData name="Jorge Costa" userId="6f0ed375-7d90-4a84-93f2-03ffaae48f30" providerId="ADAL" clId="{03E48706-ED28-4E40-9B7D-8C36692CE558}" dt="2023-09-28T07:08:21.579" v="98973"/>
          <ac:spMkLst>
            <pc:docMk/>
            <pc:sldMk cId="169091185" sldId="2147375775"/>
            <ac:spMk id="283" creationId="{17017461-1885-A70A-F2AC-C9FEB70C9697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2"/>
          <ac:spMkLst>
            <pc:docMk/>
            <pc:sldMk cId="169091185" sldId="2147375775"/>
            <ac:spMk id="284" creationId="{284ED816-B76D-23E9-F410-1F799528A789}"/>
          </ac:spMkLst>
        </pc:spChg>
        <pc:spChg chg="add del mod modVis">
          <ac:chgData name="Jorge Costa" userId="6f0ed375-7d90-4a84-93f2-03ffaae48f30" providerId="ADAL" clId="{03E48706-ED28-4E40-9B7D-8C36692CE558}" dt="2023-09-20T13:53:32.305" v="72079"/>
          <ac:spMkLst>
            <pc:docMk/>
            <pc:sldMk cId="169091185" sldId="2147375775"/>
            <ac:spMk id="285" creationId="{38C9F781-7E39-0B07-B9B7-A19F8CE2693A}"/>
          </ac:spMkLst>
        </pc:spChg>
        <pc:spChg chg="add del mod modVis">
          <ac:chgData name="Jorge Costa" userId="6f0ed375-7d90-4a84-93f2-03ffaae48f30" providerId="ADAL" clId="{03E48706-ED28-4E40-9B7D-8C36692CE558}" dt="2023-09-20T14:20:24.488" v="73450"/>
          <ac:spMkLst>
            <pc:docMk/>
            <pc:sldMk cId="169091185" sldId="2147375775"/>
            <ac:spMk id="286" creationId="{E6E37293-4FC6-B9AF-C44E-38D742C62CC0}"/>
          </ac:spMkLst>
        </pc:spChg>
        <pc:spChg chg="add del mod ord replST">
          <ac:chgData name="Jorge Costa" userId="6f0ed375-7d90-4a84-93f2-03ffaae48f30" providerId="ADAL" clId="{03E48706-ED28-4E40-9B7D-8C36692CE558}" dt="2023-09-28T06:55:10.060" v="95605"/>
          <ac:spMkLst>
            <pc:docMk/>
            <pc:sldMk cId="169091185" sldId="2147375775"/>
            <ac:spMk id="287" creationId="{6BC610D1-575F-ECF6-2183-D2E011BBF205}"/>
          </ac:spMkLst>
        </pc:spChg>
        <pc:spChg chg="add mod ord replST">
          <ac:chgData name="Jorge Costa" userId="6f0ed375-7d90-4a84-93f2-03ffaae48f30" providerId="ADAL" clId="{03E48706-ED28-4E40-9B7D-8C36692CE558}" dt="2023-09-28T07:08:21.584" v="98990"/>
          <ac:spMkLst>
            <pc:docMk/>
            <pc:sldMk cId="169091185" sldId="2147375775"/>
            <ac:spMk id="288" creationId="{88D78AEC-4B4B-59E6-E1DB-74ACC5F70BEC}"/>
          </ac:spMkLst>
        </pc:spChg>
        <pc:spChg chg="add del mod modVis">
          <ac:chgData name="Jorge Costa" userId="6f0ed375-7d90-4a84-93f2-03ffaae48f30" providerId="ADAL" clId="{03E48706-ED28-4E40-9B7D-8C36692CE558}" dt="2023-09-20T14:20:29.649" v="73577"/>
          <ac:spMkLst>
            <pc:docMk/>
            <pc:sldMk cId="169091185" sldId="2147375775"/>
            <ac:spMk id="289" creationId="{7FC2CC77-E2F0-8BD3-DD99-A718BD474B8F}"/>
          </ac:spMkLst>
        </pc:spChg>
        <pc:spChg chg="add del mod modVis">
          <ac:chgData name="Jorge Costa" userId="6f0ed375-7d90-4a84-93f2-03ffaae48f30" providerId="ADAL" clId="{03E48706-ED28-4E40-9B7D-8C36692CE558}" dt="2023-09-20T14:20:50.279" v="73704"/>
          <ac:spMkLst>
            <pc:docMk/>
            <pc:sldMk cId="169091185" sldId="2147375775"/>
            <ac:spMk id="290" creationId="{BAD00737-B026-B99D-C26C-99E5EA3A0987}"/>
          </ac:spMkLst>
        </pc:spChg>
        <pc:spChg chg="add mod ord replST">
          <ac:chgData name="Jorge Costa" userId="6f0ed375-7d90-4a84-93f2-03ffaae48f30" providerId="ADAL" clId="{03E48706-ED28-4E40-9B7D-8C36692CE558}" dt="2023-09-28T11:13:11.417" v="99834"/>
          <ac:spMkLst>
            <pc:docMk/>
            <pc:sldMk cId="169091185" sldId="2147375775"/>
            <ac:spMk id="291" creationId="{038F05B0-9F59-3A1B-E166-81F26F5C9795}"/>
          </ac:spMkLst>
        </pc:spChg>
        <pc:spChg chg="add mod ord replST">
          <ac:chgData name="Jorge Costa" userId="6f0ed375-7d90-4a84-93f2-03ffaae48f30" providerId="ADAL" clId="{03E48706-ED28-4E40-9B7D-8C36692CE558}" dt="2023-09-28T11:13:12.547" v="99856"/>
          <ac:spMkLst>
            <pc:docMk/>
            <pc:sldMk cId="169091185" sldId="2147375775"/>
            <ac:spMk id="292" creationId="{D6F1F7DA-A6E0-0268-167F-E51436593FFF}"/>
          </ac:spMkLst>
        </pc:spChg>
        <pc:spChg chg="add del mod ord replST">
          <ac:chgData name="Jorge Costa" userId="6f0ed375-7d90-4a84-93f2-03ffaae48f30" providerId="ADAL" clId="{03E48706-ED28-4E40-9B7D-8C36692CE558}" dt="2023-09-28T06:48:20.302" v="86800"/>
          <ac:spMkLst>
            <pc:docMk/>
            <pc:sldMk cId="169091185" sldId="2147375775"/>
            <ac:spMk id="293" creationId="{FE56D9E3-EB18-7744-04C5-E982F721D094}"/>
          </ac:spMkLst>
        </pc:spChg>
        <pc:spChg chg="add del mod ord replST">
          <ac:chgData name="Jorge Costa" userId="6f0ed375-7d90-4a84-93f2-03ffaae48f30" providerId="ADAL" clId="{03E48706-ED28-4E40-9B7D-8C36692CE558}" dt="2023-09-28T07:08:21.584" v="98988"/>
          <ac:spMkLst>
            <pc:docMk/>
            <pc:sldMk cId="169091185" sldId="2147375775"/>
            <ac:spMk id="294" creationId="{F1109825-6362-5F46-4C95-2D7D78B06AD6}"/>
          </ac:spMkLst>
        </pc:spChg>
        <pc:spChg chg="add del mod ord replST">
          <ac:chgData name="Jorge Costa" userId="6f0ed375-7d90-4a84-93f2-03ffaae48f30" providerId="ADAL" clId="{03E48706-ED28-4E40-9B7D-8C36692CE558}" dt="2023-09-28T07:08:21.585" v="98992"/>
          <ac:spMkLst>
            <pc:docMk/>
            <pc:sldMk cId="169091185" sldId="2147375775"/>
            <ac:spMk id="295" creationId="{DA4B9A6F-E844-ED58-A7C7-7ED7102C7EB3}"/>
          </ac:spMkLst>
        </pc:spChg>
        <pc:graphicFrameChg chg="mod">
          <ac:chgData name="Jorge Costa" userId="6f0ed375-7d90-4a84-93f2-03ffaae48f30" providerId="ADAL" clId="{03E48706-ED28-4E40-9B7D-8C36692CE558}" dt="2023-09-28T11:13:18.091" v="99898"/>
          <ac:graphicFrameMkLst>
            <pc:docMk/>
            <pc:sldMk cId="169091185" sldId="2147375775"/>
            <ac:graphicFrameMk id="6" creationId="{63A4715E-B7F9-BA75-94AB-B57C471D4624}"/>
          </ac:graphicFrameMkLst>
        </pc:graphicFrameChg>
        <pc:cxnChg chg="del">
          <ac:chgData name="Jorge Costa" userId="6f0ed375-7d90-4a84-93f2-03ffaae48f30" providerId="ADAL" clId="{03E48706-ED28-4E40-9B7D-8C36692CE558}" dt="2023-09-20T13:12:05.204" v="36223"/>
          <ac:cxnSpMkLst>
            <pc:docMk/>
            <pc:sldMk cId="169091185" sldId="2147375775"/>
            <ac:cxnSpMk id="5" creationId="{6504CC63-F13D-FAF3-98A4-33563190F00C}"/>
          </ac:cxnSpMkLst>
        </pc:cxnChg>
        <pc:cxnChg chg="add mod ord replST">
          <ac:chgData name="Jorge Costa" userId="6f0ed375-7d90-4a84-93f2-03ffaae48f30" providerId="ADAL" clId="{03E48706-ED28-4E40-9B7D-8C36692CE558}" dt="2023-09-28T07:08:21.565" v="98919"/>
          <ac:cxnSpMkLst>
            <pc:docMk/>
            <pc:sldMk cId="169091185" sldId="2147375775"/>
            <ac:cxnSpMk id="5" creationId="{EB92B2A2-3FDA-F548-ED18-A7CFB80D07EB}"/>
          </ac:cxnSpMkLst>
        </pc:cxnChg>
        <pc:cxnChg chg="add del mod ord replST">
          <ac:chgData name="Jorge Costa" userId="6f0ed375-7d90-4a84-93f2-03ffaae48f30" providerId="ADAL" clId="{03E48706-ED28-4E40-9B7D-8C36692CE558}" dt="2023-09-28T06:54:57.254" v="95494"/>
          <ac:cxnSpMkLst>
            <pc:docMk/>
            <pc:sldMk cId="169091185" sldId="2147375775"/>
            <ac:cxnSpMk id="7" creationId="{D3755695-9D28-7F8A-EA77-7F7254D2327C}"/>
          </ac:cxnSpMkLst>
        </pc:cxnChg>
        <pc:cxnChg chg="add del mod ord replST">
          <ac:chgData name="Jorge Costa" userId="6f0ed375-7d90-4a84-93f2-03ffaae48f30" providerId="ADAL" clId="{03E48706-ED28-4E40-9B7D-8C36692CE558}" dt="2023-09-28T06:57:04.487" v="96819"/>
          <ac:cxnSpMkLst>
            <pc:docMk/>
            <pc:sldMk cId="169091185" sldId="2147375775"/>
            <ac:cxnSpMk id="8" creationId="{3D549A56-4652-84A1-1BAC-76AEAD1DE565}"/>
          </ac:cxnSpMkLst>
        </pc:cxnChg>
        <pc:cxnChg chg="add del mod ord replST">
          <ac:chgData name="Jorge Costa" userId="6f0ed375-7d90-4a84-93f2-03ffaae48f30" providerId="ADAL" clId="{03E48706-ED28-4E40-9B7D-8C36692CE558}" dt="2023-09-28T06:54:45.939" v="95346"/>
          <ac:cxnSpMkLst>
            <pc:docMk/>
            <pc:sldMk cId="169091185" sldId="2147375775"/>
            <ac:cxnSpMk id="14" creationId="{8CCCACD2-9C7C-08E5-82EA-2B8035C8C3A0}"/>
          </ac:cxnSpMkLst>
        </pc:cxnChg>
        <pc:cxnChg chg="mod ord">
          <ac:chgData name="Jorge Costa" userId="6f0ed375-7d90-4a84-93f2-03ffaae48f30" providerId="ADAL" clId="{03E48706-ED28-4E40-9B7D-8C36692CE558}" dt="2023-09-28T07:08:21.567" v="98925"/>
          <ac:cxnSpMkLst>
            <pc:docMk/>
            <pc:sldMk cId="169091185" sldId="2147375775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09-28T07:08:21.567" v="98927"/>
          <ac:cxnSpMkLst>
            <pc:docMk/>
            <pc:sldMk cId="169091185" sldId="2147375775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09-28T07:08:21.566" v="98923"/>
          <ac:cxnSpMkLst>
            <pc:docMk/>
            <pc:sldMk cId="169091185" sldId="2147375775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09-28T07:08:21.568" v="98933"/>
          <ac:cxnSpMkLst>
            <pc:docMk/>
            <pc:sldMk cId="169091185" sldId="2147375775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09-28T07:08:21.569" v="98935"/>
          <ac:cxnSpMkLst>
            <pc:docMk/>
            <pc:sldMk cId="169091185" sldId="2147375775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09-28T07:08:21.566" v="98921"/>
          <ac:cxnSpMkLst>
            <pc:docMk/>
            <pc:sldMk cId="169091185" sldId="2147375775"/>
            <ac:cxnSpMk id="43" creationId="{AF42AE0D-0743-992B-260A-1B6BE271DEE7}"/>
          </ac:cxnSpMkLst>
        </pc:cxnChg>
        <pc:cxnChg chg="del">
          <ac:chgData name="Jorge Costa" userId="6f0ed375-7d90-4a84-93f2-03ffaae48f30" providerId="ADAL" clId="{03E48706-ED28-4E40-9B7D-8C36692CE558}" dt="2023-09-20T13:12:05.204" v="36217"/>
          <ac:cxnSpMkLst>
            <pc:docMk/>
            <pc:sldMk cId="169091185" sldId="2147375775"/>
            <ac:cxnSpMk id="44" creationId="{0B135372-732E-DA76-84AF-B2789D614433}"/>
          </ac:cxnSpMkLst>
        </pc:cxnChg>
        <pc:cxnChg chg="del">
          <ac:chgData name="Jorge Costa" userId="6f0ed375-7d90-4a84-93f2-03ffaae48f30" providerId="ADAL" clId="{03E48706-ED28-4E40-9B7D-8C36692CE558}" dt="2023-09-20T13:12:05.204" v="36219"/>
          <ac:cxnSpMkLst>
            <pc:docMk/>
            <pc:sldMk cId="169091185" sldId="2147375775"/>
            <ac:cxnSpMk id="45" creationId="{2B604994-2F72-5783-B135-3DE03E924AB7}"/>
          </ac:cxnSpMkLst>
        </pc:cxnChg>
        <pc:cxnChg chg="del mod ord">
          <ac:chgData name="Jorge Costa" userId="6f0ed375-7d90-4a84-93f2-03ffaae48f30" providerId="ADAL" clId="{03E48706-ED28-4E40-9B7D-8C36692CE558}" dt="2023-09-28T06:48:43.026" v="87343"/>
          <ac:cxnSpMkLst>
            <pc:docMk/>
            <pc:sldMk cId="169091185" sldId="2147375775"/>
            <ac:cxnSpMk id="46" creationId="{0F214D55-44D7-8E04-EFAF-7F9716E0FB37}"/>
          </ac:cxnSpMkLst>
        </pc:cxnChg>
        <pc:cxnChg chg="del">
          <ac:chgData name="Jorge Costa" userId="6f0ed375-7d90-4a84-93f2-03ffaae48f30" providerId="ADAL" clId="{03E48706-ED28-4E40-9B7D-8C36692CE558}" dt="2023-09-20T13:12:05.204" v="36221"/>
          <ac:cxnSpMkLst>
            <pc:docMk/>
            <pc:sldMk cId="169091185" sldId="2147375775"/>
            <ac:cxnSpMk id="49" creationId="{7FB809C4-8450-0C2E-1E41-454F4FB77D02}"/>
          </ac:cxnSpMkLst>
        </pc:cxnChg>
        <pc:cxnChg chg="mod ord">
          <ac:chgData name="Jorge Costa" userId="6f0ed375-7d90-4a84-93f2-03ffaae48f30" providerId="ADAL" clId="{03E48706-ED28-4E40-9B7D-8C36692CE558}" dt="2023-09-28T07:08:21.569" v="98937"/>
          <ac:cxnSpMkLst>
            <pc:docMk/>
            <pc:sldMk cId="169091185" sldId="2147375775"/>
            <ac:cxnSpMk id="50" creationId="{DC487231-5187-6D2F-3E79-9AA7DA3000AE}"/>
          </ac:cxnSpMkLst>
        </pc:cxnChg>
        <pc:cxnChg chg="del">
          <ac:chgData name="Jorge Costa" userId="6f0ed375-7d90-4a84-93f2-03ffaae48f30" providerId="ADAL" clId="{03E48706-ED28-4E40-9B7D-8C36692CE558}" dt="2023-09-20T13:12:05.204" v="36225"/>
          <ac:cxnSpMkLst>
            <pc:docMk/>
            <pc:sldMk cId="169091185" sldId="2147375775"/>
            <ac:cxnSpMk id="51" creationId="{84A1BDB7-E2EF-0F37-9117-287DD5162DF0}"/>
          </ac:cxnSpMkLst>
        </pc:cxnChg>
        <pc:cxnChg chg="del">
          <ac:chgData name="Jorge Costa" userId="6f0ed375-7d90-4a84-93f2-03ffaae48f30" providerId="ADAL" clId="{03E48706-ED28-4E40-9B7D-8C36692CE558}" dt="2023-09-20T13:12:05.210" v="36229"/>
          <ac:cxnSpMkLst>
            <pc:docMk/>
            <pc:sldMk cId="169091185" sldId="2147375775"/>
            <ac:cxnSpMk id="52" creationId="{70021605-9CF2-EA1D-6142-4C6113D8A843}"/>
          </ac:cxnSpMkLst>
        </pc:cxnChg>
        <pc:cxnChg chg="mod ord">
          <ac:chgData name="Jorge Costa" userId="6f0ed375-7d90-4a84-93f2-03ffaae48f30" providerId="ADAL" clId="{03E48706-ED28-4E40-9B7D-8C36692CE558}" dt="2023-09-28T07:08:21.564" v="98917"/>
          <ac:cxnSpMkLst>
            <pc:docMk/>
            <pc:sldMk cId="169091185" sldId="2147375775"/>
            <ac:cxnSpMk id="53" creationId="{FDDA2859-AE28-97E3-C1DF-629C79C7BD24}"/>
          </ac:cxnSpMkLst>
        </pc:cxnChg>
        <pc:cxnChg chg="del">
          <ac:chgData name="Jorge Costa" userId="6f0ed375-7d90-4a84-93f2-03ffaae48f30" providerId="ADAL" clId="{03E48706-ED28-4E40-9B7D-8C36692CE558}" dt="2023-09-20T13:12:05.210" v="36231"/>
          <ac:cxnSpMkLst>
            <pc:docMk/>
            <pc:sldMk cId="169091185" sldId="2147375775"/>
            <ac:cxnSpMk id="54" creationId="{681D39C6-E78C-B22E-C0E4-05CC6BCE5C52}"/>
          </ac:cxnSpMkLst>
        </pc:cxnChg>
        <pc:cxnChg chg="del mod ord">
          <ac:chgData name="Jorge Costa" userId="6f0ed375-7d90-4a84-93f2-03ffaae48f30" providerId="ADAL" clId="{03E48706-ED28-4E40-9B7D-8C36692CE558}" dt="2023-09-20T13:22:10.842" v="53464"/>
          <ac:cxnSpMkLst>
            <pc:docMk/>
            <pc:sldMk cId="169091185" sldId="2147375775"/>
            <ac:cxnSpMk id="55" creationId="{77B335D0-7DDC-B4D7-B3F5-3822EB0F38A2}"/>
          </ac:cxnSpMkLst>
        </pc:cxnChg>
        <pc:cxnChg chg="del mod ord">
          <ac:chgData name="Jorge Costa" userId="6f0ed375-7d90-4a84-93f2-03ffaae48f30" providerId="ADAL" clId="{03E48706-ED28-4E40-9B7D-8C36692CE558}" dt="2023-09-28T06:47:37.616" v="85623"/>
          <ac:cxnSpMkLst>
            <pc:docMk/>
            <pc:sldMk cId="169091185" sldId="2147375775"/>
            <ac:cxnSpMk id="56" creationId="{6FCEF9BB-7F35-67FD-9A81-4EBE68273A56}"/>
          </ac:cxnSpMkLst>
        </pc:cxnChg>
        <pc:cxnChg chg="add del mod ord replST">
          <ac:chgData name="Jorge Costa" userId="6f0ed375-7d90-4a84-93f2-03ffaae48f30" providerId="ADAL" clId="{03E48706-ED28-4E40-9B7D-8C36692CE558}" dt="2023-09-28T07:07:41.159" v="98378"/>
          <ac:cxnSpMkLst>
            <pc:docMk/>
            <pc:sldMk cId="169091185" sldId="2147375775"/>
            <ac:cxnSpMk id="57" creationId="{419EB1B4-338F-8A48-A24A-6A66E96926AF}"/>
          </ac:cxnSpMkLst>
        </pc:cxnChg>
        <pc:cxnChg chg="del mod ord">
          <ac:chgData name="Jorge Costa" userId="6f0ed375-7d90-4a84-93f2-03ffaae48f30" providerId="ADAL" clId="{03E48706-ED28-4E40-9B7D-8C36692CE558}" dt="2023-09-20T13:22:10.842" v="53466"/>
          <ac:cxnSpMkLst>
            <pc:docMk/>
            <pc:sldMk cId="169091185" sldId="2147375775"/>
            <ac:cxnSpMk id="57" creationId="{9BDBAB7E-A548-9578-83E3-9675C2FDC2DE}"/>
          </ac:cxnSpMkLst>
        </pc:cxnChg>
        <pc:cxnChg chg="del mod ord">
          <ac:chgData name="Jorge Costa" userId="6f0ed375-7d90-4a84-93f2-03ffaae48f30" providerId="ADAL" clId="{03E48706-ED28-4E40-9B7D-8C36692CE558}" dt="2023-09-20T13:22:10.842" v="53468"/>
          <ac:cxnSpMkLst>
            <pc:docMk/>
            <pc:sldMk cId="169091185" sldId="2147375775"/>
            <ac:cxnSpMk id="58" creationId="{95B333FB-033D-4138-6EBA-C92E1814B934}"/>
          </ac:cxnSpMkLst>
        </pc:cxnChg>
        <pc:cxnChg chg="del mod ord">
          <ac:chgData name="Jorge Costa" userId="6f0ed375-7d90-4a84-93f2-03ffaae48f30" providerId="ADAL" clId="{03E48706-ED28-4E40-9B7D-8C36692CE558}" dt="2023-09-20T13:22:54.389" v="53959"/>
          <ac:cxnSpMkLst>
            <pc:docMk/>
            <pc:sldMk cId="169091185" sldId="2147375775"/>
            <ac:cxnSpMk id="59" creationId="{6D5B5B52-89C7-527F-4C7D-FBCB440B3E2A}"/>
          </ac:cxnSpMkLst>
        </pc:cxnChg>
        <pc:cxnChg chg="add mod ord replST">
          <ac:chgData name="Jorge Costa" userId="6f0ed375-7d90-4a84-93f2-03ffaae48f30" providerId="ADAL" clId="{03E48706-ED28-4E40-9B7D-8C36692CE558}" dt="2023-09-28T07:08:21.568" v="98929"/>
          <ac:cxnSpMkLst>
            <pc:docMk/>
            <pc:sldMk cId="169091185" sldId="2147375775"/>
            <ac:cxnSpMk id="59" creationId="{7E550420-EC2D-84CA-9920-CA4E94EE21AD}"/>
          </ac:cxnSpMkLst>
        </pc:cxnChg>
        <pc:cxnChg chg="del mod ord">
          <ac:chgData name="Jorge Costa" userId="6f0ed375-7d90-4a84-93f2-03ffaae48f30" providerId="ADAL" clId="{03E48706-ED28-4E40-9B7D-8C36692CE558}" dt="2023-09-20T13:35:29.605" v="63185"/>
          <ac:cxnSpMkLst>
            <pc:docMk/>
            <pc:sldMk cId="169091185" sldId="2147375775"/>
            <ac:cxnSpMk id="60" creationId="{C34732A6-1B02-B505-8991-C1BA9D92675C}"/>
          </ac:cxnSpMkLst>
        </pc:cxnChg>
        <pc:cxnChg chg="add mod ord replST">
          <ac:chgData name="Jorge Costa" userId="6f0ed375-7d90-4a84-93f2-03ffaae48f30" providerId="ADAL" clId="{03E48706-ED28-4E40-9B7D-8C36692CE558}" dt="2023-09-28T07:08:21.568" v="98931"/>
          <ac:cxnSpMkLst>
            <pc:docMk/>
            <pc:sldMk cId="169091185" sldId="2147375775"/>
            <ac:cxnSpMk id="60" creationId="{E24DC149-9275-CA56-07B3-C3B4368F9FAA}"/>
          </ac:cxnSpMkLst>
        </pc:cxnChg>
        <pc:cxnChg chg="del">
          <ac:chgData name="Jorge Costa" userId="6f0ed375-7d90-4a84-93f2-03ffaae48f30" providerId="ADAL" clId="{03E48706-ED28-4E40-9B7D-8C36692CE558}" dt="2023-09-20T13:12:05.192" v="36179"/>
          <ac:cxnSpMkLst>
            <pc:docMk/>
            <pc:sldMk cId="169091185" sldId="2147375775"/>
            <ac:cxnSpMk id="61" creationId="{8B7FC1E6-2655-F7C3-874F-2BB0E0EF4A8F}"/>
          </ac:cxnSpMkLst>
        </pc:cxnChg>
        <pc:cxnChg chg="del">
          <ac:chgData name="Jorge Costa" userId="6f0ed375-7d90-4a84-93f2-03ffaae48f30" providerId="ADAL" clId="{03E48706-ED28-4E40-9B7D-8C36692CE558}" dt="2023-09-20T13:12:05.184" v="36177"/>
          <ac:cxnSpMkLst>
            <pc:docMk/>
            <pc:sldMk cId="169091185" sldId="2147375775"/>
            <ac:cxnSpMk id="62" creationId="{3CE05907-5DC3-537B-A67D-75C5CC0B8908}"/>
          </ac:cxnSpMkLst>
        </pc:cxnChg>
        <pc:cxnChg chg="del">
          <ac:chgData name="Jorge Costa" userId="6f0ed375-7d90-4a84-93f2-03ffaae48f30" providerId="ADAL" clId="{03E48706-ED28-4E40-9B7D-8C36692CE558}" dt="2023-09-20T13:10:41.678" v="34930"/>
          <ac:cxnSpMkLst>
            <pc:docMk/>
            <pc:sldMk cId="169091185" sldId="2147375775"/>
            <ac:cxnSpMk id="63" creationId="{DBB0C9EE-5462-F388-CF30-9F9796B3431F}"/>
          </ac:cxnSpMkLst>
        </pc:cxnChg>
        <pc:cxnChg chg="mod ord">
          <ac:chgData name="Jorge Costa" userId="6f0ed375-7d90-4a84-93f2-03ffaae48f30" providerId="ADAL" clId="{03E48706-ED28-4E40-9B7D-8C36692CE558}" dt="2023-09-28T07:08:21.570" v="98939"/>
          <ac:cxnSpMkLst>
            <pc:docMk/>
            <pc:sldMk cId="169091185" sldId="2147375775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09-28T07:08:21.571" v="98943"/>
          <ac:cxnSpMkLst>
            <pc:docMk/>
            <pc:sldMk cId="169091185" sldId="2147375775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09-28T07:08:21.571" v="98941"/>
          <ac:cxnSpMkLst>
            <pc:docMk/>
            <pc:sldMk cId="169091185" sldId="2147375775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09-28T07:08:21.572" v="98945"/>
          <ac:cxnSpMkLst>
            <pc:docMk/>
            <pc:sldMk cId="169091185" sldId="2147375775"/>
            <ac:cxnSpMk id="67" creationId="{659848EF-7FEF-63B8-07E4-FFDCFA186EED}"/>
          </ac:cxnSpMkLst>
        </pc:cxnChg>
        <pc:cxnChg chg="del">
          <ac:chgData name="Jorge Costa" userId="6f0ed375-7d90-4a84-93f2-03ffaae48f30" providerId="ADAL" clId="{03E48706-ED28-4E40-9B7D-8C36692CE558}" dt="2023-09-20T13:12:04.956" v="35501"/>
          <ac:cxnSpMkLst>
            <pc:docMk/>
            <pc:sldMk cId="169091185" sldId="2147375775"/>
            <ac:cxnSpMk id="68" creationId="{D98D1BA2-5F19-9549-4DC6-0ACF35F22E05}"/>
          </ac:cxnSpMkLst>
        </pc:cxnChg>
        <pc:cxnChg chg="del">
          <ac:chgData name="Jorge Costa" userId="6f0ed375-7d90-4a84-93f2-03ffaae48f30" providerId="ADAL" clId="{03E48706-ED28-4E40-9B7D-8C36692CE558}" dt="2023-09-20T13:12:04.956" v="35493"/>
          <ac:cxnSpMkLst>
            <pc:docMk/>
            <pc:sldMk cId="169091185" sldId="2147375775"/>
            <ac:cxnSpMk id="69" creationId="{C94E4CA7-E097-D8A3-4F6A-0338AFD2F2EF}"/>
          </ac:cxnSpMkLst>
        </pc:cxnChg>
        <pc:cxnChg chg="mod ord">
          <ac:chgData name="Jorge Costa" userId="6f0ed375-7d90-4a84-93f2-03ffaae48f30" providerId="ADAL" clId="{03E48706-ED28-4E40-9B7D-8C36692CE558}" dt="2023-09-28T07:08:21.574" v="98957"/>
          <ac:cxnSpMkLst>
            <pc:docMk/>
            <pc:sldMk cId="169091185" sldId="2147375775"/>
            <ac:cxnSpMk id="70" creationId="{A0D52725-A9A9-80D8-1CA3-EE7655755914}"/>
          </ac:cxnSpMkLst>
        </pc:cxnChg>
        <pc:cxnChg chg="del">
          <ac:chgData name="Jorge Costa" userId="6f0ed375-7d90-4a84-93f2-03ffaae48f30" providerId="ADAL" clId="{03E48706-ED28-4E40-9B7D-8C36692CE558}" dt="2023-09-20T13:12:04.956" v="35509"/>
          <ac:cxnSpMkLst>
            <pc:docMk/>
            <pc:sldMk cId="169091185" sldId="2147375775"/>
            <ac:cxnSpMk id="71" creationId="{D395F62F-72A2-EF64-5D31-4F98663928A5}"/>
          </ac:cxnSpMkLst>
        </pc:cxnChg>
        <pc:cxnChg chg="del">
          <ac:chgData name="Jorge Costa" userId="6f0ed375-7d90-4a84-93f2-03ffaae48f30" providerId="ADAL" clId="{03E48706-ED28-4E40-9B7D-8C36692CE558}" dt="2023-09-20T13:12:04.956" v="35515"/>
          <ac:cxnSpMkLst>
            <pc:docMk/>
            <pc:sldMk cId="169091185" sldId="2147375775"/>
            <ac:cxnSpMk id="72" creationId="{E10473D5-C978-2F0B-950B-06B2D9C3F995}"/>
          </ac:cxnSpMkLst>
        </pc:cxnChg>
        <pc:cxnChg chg="mod ord">
          <ac:chgData name="Jorge Costa" userId="6f0ed375-7d90-4a84-93f2-03ffaae48f30" providerId="ADAL" clId="{03E48706-ED28-4E40-9B7D-8C36692CE558}" dt="2023-09-28T07:08:21.572" v="98947"/>
          <ac:cxnSpMkLst>
            <pc:docMk/>
            <pc:sldMk cId="169091185" sldId="2147375775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09-28T07:08:29.616" v="99155"/>
          <ac:cxnSpMkLst>
            <pc:docMk/>
            <pc:sldMk cId="169091185" sldId="2147375775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09-28T07:08:21.575" v="98959"/>
          <ac:cxnSpMkLst>
            <pc:docMk/>
            <pc:sldMk cId="169091185" sldId="2147375775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09-28T07:08:21.587" v="99004"/>
          <ac:cxnSpMkLst>
            <pc:docMk/>
            <pc:sldMk cId="169091185" sldId="2147375775"/>
            <ac:cxnSpMk id="104" creationId="{16C09043-B53A-B25A-9CB0-26205C63905B}"/>
          </ac:cxnSpMkLst>
        </pc:cxnChg>
        <pc:cxnChg chg="del">
          <ac:chgData name="Jorge Costa" userId="6f0ed375-7d90-4a84-93f2-03ffaae48f30" providerId="ADAL" clId="{03E48706-ED28-4E40-9B7D-8C36692CE558}" dt="2023-09-20T13:12:04.956" v="35503"/>
          <ac:cxnSpMkLst>
            <pc:docMk/>
            <pc:sldMk cId="169091185" sldId="2147375775"/>
            <ac:cxnSpMk id="120" creationId="{41A02CEE-6AB9-111A-684E-7581AA05B93B}"/>
          </ac:cxnSpMkLst>
        </pc:cxnChg>
        <pc:cxnChg chg="del">
          <ac:chgData name="Jorge Costa" userId="6f0ed375-7d90-4a84-93f2-03ffaae48f30" providerId="ADAL" clId="{03E48706-ED28-4E40-9B7D-8C36692CE558}" dt="2023-09-20T13:12:04.956" v="35495"/>
          <ac:cxnSpMkLst>
            <pc:docMk/>
            <pc:sldMk cId="169091185" sldId="2147375775"/>
            <ac:cxnSpMk id="121" creationId="{488C494D-EB25-8D06-DD8B-83AF9C768D32}"/>
          </ac:cxnSpMkLst>
        </pc:cxnChg>
        <pc:cxnChg chg="del">
          <ac:chgData name="Jorge Costa" userId="6f0ed375-7d90-4a84-93f2-03ffaae48f30" providerId="ADAL" clId="{03E48706-ED28-4E40-9B7D-8C36692CE558}" dt="2023-09-20T13:12:04.956" v="35487"/>
          <ac:cxnSpMkLst>
            <pc:docMk/>
            <pc:sldMk cId="169091185" sldId="2147375775"/>
            <ac:cxnSpMk id="122" creationId="{2E570AF1-7C1C-7CD0-2A6F-A1391AC02B03}"/>
          </ac:cxnSpMkLst>
        </pc:cxnChg>
        <pc:cxnChg chg="del">
          <ac:chgData name="Jorge Costa" userId="6f0ed375-7d90-4a84-93f2-03ffaae48f30" providerId="ADAL" clId="{03E48706-ED28-4E40-9B7D-8C36692CE558}" dt="2023-09-20T13:12:05.014" v="35656"/>
          <ac:cxnSpMkLst>
            <pc:docMk/>
            <pc:sldMk cId="169091185" sldId="2147375775"/>
            <ac:cxnSpMk id="196" creationId="{1A073AD5-6596-0B0C-9E98-B20F985271B5}"/>
          </ac:cxnSpMkLst>
        </pc:cxnChg>
        <pc:cxnChg chg="del">
          <ac:chgData name="Jorge Costa" userId="6f0ed375-7d90-4a84-93f2-03ffaae48f30" providerId="ADAL" clId="{03E48706-ED28-4E40-9B7D-8C36692CE558}" dt="2023-09-20T13:12:05.019" v="35678"/>
          <ac:cxnSpMkLst>
            <pc:docMk/>
            <pc:sldMk cId="169091185" sldId="2147375775"/>
            <ac:cxnSpMk id="197" creationId="{062D04BF-3AA7-EA00-A46A-C2D90B55F912}"/>
          </ac:cxnSpMkLst>
        </pc:cxnChg>
        <pc:cxnChg chg="del">
          <ac:chgData name="Jorge Costa" userId="6f0ed375-7d90-4a84-93f2-03ffaae48f30" providerId="ADAL" clId="{03E48706-ED28-4E40-9B7D-8C36692CE558}" dt="2023-09-20T13:12:05.204" v="36227"/>
          <ac:cxnSpMkLst>
            <pc:docMk/>
            <pc:sldMk cId="169091185" sldId="2147375775"/>
            <ac:cxnSpMk id="198" creationId="{2F0A99A8-34B7-1483-4A04-3E3C9274B770}"/>
          </ac:cxnSpMkLst>
        </pc:cxnChg>
        <pc:cxnChg chg="del">
          <ac:chgData name="Jorge Costa" userId="6f0ed375-7d90-4a84-93f2-03ffaae48f30" providerId="ADAL" clId="{03E48706-ED28-4E40-9B7D-8C36692CE558}" dt="2023-09-20T13:12:05.204" v="36215"/>
          <ac:cxnSpMkLst>
            <pc:docMk/>
            <pc:sldMk cId="169091185" sldId="2147375775"/>
            <ac:cxnSpMk id="204" creationId="{1DA6B509-842A-5FDC-26BE-FB78FBBA2F9F}"/>
          </ac:cxnSpMkLst>
        </pc:cxnChg>
        <pc:cxnChg chg="del">
          <ac:chgData name="Jorge Costa" userId="6f0ed375-7d90-4a84-93f2-03ffaae48f30" providerId="ADAL" clId="{03E48706-ED28-4E40-9B7D-8C36692CE558}" dt="2023-09-20T13:12:05.204" v="36213"/>
          <ac:cxnSpMkLst>
            <pc:docMk/>
            <pc:sldMk cId="169091185" sldId="2147375775"/>
            <ac:cxnSpMk id="205" creationId="{620130A9-F3DA-7212-1B9E-6A10F6B27AB3}"/>
          </ac:cxnSpMkLst>
        </pc:cxnChg>
        <pc:cxnChg chg="mod ord">
          <ac:chgData name="Jorge Costa" userId="6f0ed375-7d90-4a84-93f2-03ffaae48f30" providerId="ADAL" clId="{03E48706-ED28-4E40-9B7D-8C36692CE558}" dt="2023-09-28T07:08:21.574" v="98953"/>
          <ac:cxnSpMkLst>
            <pc:docMk/>
            <pc:sldMk cId="169091185" sldId="2147375775"/>
            <ac:cxnSpMk id="221" creationId="{6A3544F9-FD8F-A97C-E4E2-4A96ACC8B185}"/>
          </ac:cxnSpMkLst>
        </pc:cxnChg>
        <pc:cxnChg chg="del">
          <ac:chgData name="Jorge Costa" userId="6f0ed375-7d90-4a84-93f2-03ffaae48f30" providerId="ADAL" clId="{03E48706-ED28-4E40-9B7D-8C36692CE558}" dt="2023-09-20T13:12:05.005" v="35612"/>
          <ac:cxnSpMkLst>
            <pc:docMk/>
            <pc:sldMk cId="169091185" sldId="2147375775"/>
            <ac:cxnSpMk id="222" creationId="{5C7CF921-DA8A-7E5B-07FA-EC186491E992}"/>
          </ac:cxnSpMkLst>
        </pc:cxnChg>
        <pc:cxnChg chg="del">
          <ac:chgData name="Jorge Costa" userId="6f0ed375-7d90-4a84-93f2-03ffaae48f30" providerId="ADAL" clId="{03E48706-ED28-4E40-9B7D-8C36692CE558}" dt="2023-09-20T13:12:05.010" v="35634"/>
          <ac:cxnSpMkLst>
            <pc:docMk/>
            <pc:sldMk cId="169091185" sldId="2147375775"/>
            <ac:cxnSpMk id="223" creationId="{FE1446B3-621F-62D6-697A-C61CAE6177B3}"/>
          </ac:cxnSpMkLst>
        </pc:cxnChg>
        <pc:cxnChg chg="add mod ord replST">
          <ac:chgData name="Jorge Costa" userId="6f0ed375-7d90-4a84-93f2-03ffaae48f30" providerId="ADAL" clId="{03E48706-ED28-4E40-9B7D-8C36692CE558}" dt="2023-09-28T07:08:21.573" v="98951"/>
          <ac:cxnSpMkLst>
            <pc:docMk/>
            <pc:sldMk cId="169091185" sldId="2147375775"/>
            <ac:cxnSpMk id="230" creationId="{BE5ACD7C-3CEB-4780-4072-2307C76BA23A}"/>
          </ac:cxnSpMkLst>
        </pc:cxnChg>
        <pc:cxnChg chg="add del mod ord replST">
          <ac:chgData name="Jorge Costa" userId="6f0ed375-7d90-4a84-93f2-03ffaae48f30" providerId="ADAL" clId="{03E48706-ED28-4E40-9B7D-8C36692CE558}" dt="2023-09-20T13:17:56.090" v="45491"/>
          <ac:cxnSpMkLst>
            <pc:docMk/>
            <pc:sldMk cId="169091185" sldId="2147375775"/>
            <ac:cxnSpMk id="234" creationId="{15DD5C14-8B0C-062B-7928-A8237CF71C5B}"/>
          </ac:cxnSpMkLst>
        </pc:cxnChg>
        <pc:cxnChg chg="add del mod ord replST">
          <ac:chgData name="Jorge Costa" userId="6f0ed375-7d90-4a84-93f2-03ffaae48f30" providerId="ADAL" clId="{03E48706-ED28-4E40-9B7D-8C36692CE558}" dt="2023-09-20T13:17:56.093" v="45501"/>
          <ac:cxnSpMkLst>
            <pc:docMk/>
            <pc:sldMk cId="169091185" sldId="2147375775"/>
            <ac:cxnSpMk id="235" creationId="{A7E8C5C9-DCDE-B5A0-CB85-2CC73D50B49B}"/>
          </ac:cxnSpMkLst>
        </pc:cxnChg>
        <pc:cxnChg chg="add mod ord replST">
          <ac:chgData name="Jorge Costa" userId="6f0ed375-7d90-4a84-93f2-03ffaae48f30" providerId="ADAL" clId="{03E48706-ED28-4E40-9B7D-8C36692CE558}" dt="2023-09-28T07:08:21.574" v="98955"/>
          <ac:cxnSpMkLst>
            <pc:docMk/>
            <pc:sldMk cId="169091185" sldId="2147375775"/>
            <ac:cxnSpMk id="236" creationId="{24FC3315-C82B-FBD3-89A8-42C66FC222F0}"/>
          </ac:cxnSpMkLst>
        </pc:cxnChg>
        <pc:cxnChg chg="add del mod ord replST">
          <ac:chgData name="Jorge Costa" userId="6f0ed375-7d90-4a84-93f2-03ffaae48f30" providerId="ADAL" clId="{03E48706-ED28-4E40-9B7D-8C36692CE558}" dt="2023-09-20T13:21:54.553" v="52997"/>
          <ac:cxnSpMkLst>
            <pc:docMk/>
            <pc:sldMk cId="169091185" sldId="2147375775"/>
            <ac:cxnSpMk id="237" creationId="{D577921E-0E8A-84B1-BEFF-5153115BB206}"/>
          </ac:cxnSpMkLst>
        </pc:cxnChg>
        <pc:cxnChg chg="add del mod ord replST">
          <ac:chgData name="Jorge Costa" userId="6f0ed375-7d90-4a84-93f2-03ffaae48f30" providerId="ADAL" clId="{03E48706-ED28-4E40-9B7D-8C36692CE558}" dt="2023-09-20T13:21:54.564" v="53015"/>
          <ac:cxnSpMkLst>
            <pc:docMk/>
            <pc:sldMk cId="169091185" sldId="2147375775"/>
            <ac:cxnSpMk id="238" creationId="{61067AC6-AB92-B2E4-7EDB-A037969245B6}"/>
          </ac:cxnSpMkLst>
        </pc:cxnChg>
        <pc:cxnChg chg="add del mod ord replST">
          <ac:chgData name="Jorge Costa" userId="6f0ed375-7d90-4a84-93f2-03ffaae48f30" providerId="ADAL" clId="{03E48706-ED28-4E40-9B7D-8C36692CE558}" dt="2023-09-20T13:21:54.564" v="53029"/>
          <ac:cxnSpMkLst>
            <pc:docMk/>
            <pc:sldMk cId="169091185" sldId="2147375775"/>
            <ac:cxnSpMk id="239" creationId="{A98070E3-6899-D160-E09B-0357748243C2}"/>
          </ac:cxnSpMkLst>
        </pc:cxnChg>
        <pc:cxnChg chg="add del mod ord replST">
          <ac:chgData name="Jorge Costa" userId="6f0ed375-7d90-4a84-93f2-03ffaae48f30" providerId="ADAL" clId="{03E48706-ED28-4E40-9B7D-8C36692CE558}" dt="2023-09-20T13:21:54.572" v="53043"/>
          <ac:cxnSpMkLst>
            <pc:docMk/>
            <pc:sldMk cId="169091185" sldId="2147375775"/>
            <ac:cxnSpMk id="240" creationId="{9B890EC9-8768-5D1E-028F-D4C051D57504}"/>
          </ac:cxnSpMkLst>
        </pc:cxnChg>
      </pc:sldChg>
      <pc:sldChg chg="add">
        <pc:chgData name="Jorge Costa" userId="6f0ed375-7d90-4a84-93f2-03ffaae48f30" providerId="ADAL" clId="{03E48706-ED28-4E40-9B7D-8C36692CE558}" dt="2023-09-28T06:47:01.012" v="85403"/>
        <pc:sldMkLst>
          <pc:docMk/>
          <pc:sldMk cId="2633241318" sldId="2147375776"/>
        </pc:sldMkLst>
      </pc:sldChg>
      <pc:sldChg chg="add">
        <pc:chgData name="Jorge Costa" userId="6f0ed375-7d90-4a84-93f2-03ffaae48f30" providerId="ADAL" clId="{03E48706-ED28-4E40-9B7D-8C36692CE558}" dt="2023-09-28T06:47:01.012" v="85403"/>
        <pc:sldMkLst>
          <pc:docMk/>
          <pc:sldMk cId="2009796551" sldId="2147375777"/>
        </pc:sldMkLst>
      </pc:sldChg>
      <pc:sldChg chg="addSp delSp modSp add mod">
        <pc:chgData name="Jorge Costa" userId="6f0ed375-7d90-4a84-93f2-03ffaae48f30" providerId="ADAL" clId="{03E48706-ED28-4E40-9B7D-8C36692CE558}" dt="2023-10-04T12:10:47.344" v="101125"/>
        <pc:sldMkLst>
          <pc:docMk/>
          <pc:sldMk cId="2915508219" sldId="2147375778"/>
        </pc:sldMkLst>
        <pc:spChg chg="mod ord">
          <ac:chgData name="Jorge Costa" userId="6f0ed375-7d90-4a84-93f2-03ffaae48f30" providerId="ADAL" clId="{03E48706-ED28-4E40-9B7D-8C36692CE558}" dt="2023-10-04T12:10:47.255" v="101062" actId="948"/>
          <ac:spMkLst>
            <pc:docMk/>
            <pc:sldMk cId="2915508219" sldId="2147375778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10-04T11:55:31.642" v="100193"/>
          <ac:spMkLst>
            <pc:docMk/>
            <pc:sldMk cId="2915508219" sldId="2147375778"/>
            <ac:spMk id="3" creationId="{76036356-0252-4561-851A-3CD004CE161D}"/>
          </ac:spMkLst>
        </pc:spChg>
        <pc:spChg chg="mod ord">
          <ac:chgData name="Jorge Costa" userId="6f0ed375-7d90-4a84-93f2-03ffaae48f30" providerId="ADAL" clId="{03E48706-ED28-4E40-9B7D-8C36692CE558}" dt="2023-10-04T11:58:01.357" v="100405"/>
          <ac:spMkLst>
            <pc:docMk/>
            <pc:sldMk cId="2915508219" sldId="2147375778"/>
            <ac:spMk id="4" creationId="{86B112D9-9E4A-0DDF-DF01-494C86A59AE4}"/>
          </ac:spMkLst>
        </pc:spChg>
        <pc:spChg chg="mod">
          <ac:chgData name="Jorge Costa" userId="6f0ed375-7d90-4a84-93f2-03ffaae48f30" providerId="ADAL" clId="{03E48706-ED28-4E40-9B7D-8C36692CE558}" dt="2023-10-04T12:10:47.318" v="101121"/>
          <ac:spMkLst>
            <pc:docMk/>
            <pc:sldMk cId="2915508219" sldId="2147375778"/>
            <ac:spMk id="9" creationId="{B9BA9B15-354E-EEFB-98E4-9CEC2B93A847}"/>
          </ac:spMkLst>
        </pc:spChg>
        <pc:spChg chg="mod">
          <ac:chgData name="Jorge Costa" userId="6f0ed375-7d90-4a84-93f2-03ffaae48f30" providerId="ADAL" clId="{03E48706-ED28-4E40-9B7D-8C36692CE558}" dt="2023-10-04T12:10:47.311" v="101109"/>
          <ac:spMkLst>
            <pc:docMk/>
            <pc:sldMk cId="2915508219" sldId="2147375778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10-04T12:10:47.312" v="101110"/>
          <ac:spMkLst>
            <pc:docMk/>
            <pc:sldMk cId="2915508219" sldId="2147375778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10-04T12:10:47.312" v="101111"/>
          <ac:spMkLst>
            <pc:docMk/>
            <pc:sldMk cId="2915508219" sldId="2147375778"/>
            <ac:spMk id="13" creationId="{48FFC757-7EC8-F223-3013-164FA4CF0A3A}"/>
          </ac:spMkLst>
        </pc:spChg>
        <pc:spChg chg="mod ord">
          <ac:chgData name="Jorge Costa" userId="6f0ed375-7d90-4a84-93f2-03ffaae48f30" providerId="ADAL" clId="{03E48706-ED28-4E40-9B7D-8C36692CE558}" dt="2023-10-04T11:58:01.517" v="100581"/>
          <ac:spMkLst>
            <pc:docMk/>
            <pc:sldMk cId="2915508219" sldId="2147375778"/>
            <ac:spMk id="22" creationId="{65D548A3-47C4-BA95-1B26-DA6668F53161}"/>
          </ac:spMkLst>
        </pc:spChg>
        <pc:spChg chg="mod ord">
          <ac:chgData name="Jorge Costa" userId="6f0ed375-7d90-4a84-93f2-03ffaae48f30" providerId="ADAL" clId="{03E48706-ED28-4E40-9B7D-8C36692CE558}" dt="2023-10-04T11:58:01.517" v="100583"/>
          <ac:spMkLst>
            <pc:docMk/>
            <pc:sldMk cId="2915508219" sldId="2147375778"/>
            <ac:spMk id="23" creationId="{B80F50FE-910E-100C-2ED3-D741EC398416}"/>
          </ac:spMkLst>
        </pc:spChg>
        <pc:spChg chg="mod ord">
          <ac:chgData name="Jorge Costa" userId="6f0ed375-7d90-4a84-93f2-03ffaae48f30" providerId="ADAL" clId="{03E48706-ED28-4E40-9B7D-8C36692CE558}" dt="2023-10-04T11:58:01.519" v="100585"/>
          <ac:spMkLst>
            <pc:docMk/>
            <pc:sldMk cId="2915508219" sldId="2147375778"/>
            <ac:spMk id="24" creationId="{623C54AA-70A9-C28E-DDCE-9FA6F9B982D5}"/>
          </ac:spMkLst>
        </pc:spChg>
        <pc:spChg chg="mod ord">
          <ac:chgData name="Jorge Costa" userId="6f0ed375-7d90-4a84-93f2-03ffaae48f30" providerId="ADAL" clId="{03E48706-ED28-4E40-9B7D-8C36692CE558}" dt="2023-10-04T11:58:01.520" v="100587"/>
          <ac:spMkLst>
            <pc:docMk/>
            <pc:sldMk cId="2915508219" sldId="2147375778"/>
            <ac:spMk id="25" creationId="{B4A14BB6-630A-6EA5-EDE1-5FDBD5A119AD}"/>
          </ac:spMkLst>
        </pc:spChg>
        <pc:spChg chg="mod ord">
          <ac:chgData name="Jorge Costa" userId="6f0ed375-7d90-4a84-93f2-03ffaae48f30" providerId="ADAL" clId="{03E48706-ED28-4E40-9B7D-8C36692CE558}" dt="2023-10-04T11:58:01.521" v="100589"/>
          <ac:spMkLst>
            <pc:docMk/>
            <pc:sldMk cId="2915508219" sldId="2147375778"/>
            <ac:spMk id="26" creationId="{6C0937AE-D77D-2301-82CC-4FEDDE959D28}"/>
          </ac:spMkLst>
        </pc:spChg>
        <pc:spChg chg="mod">
          <ac:chgData name="Jorge Costa" userId="6f0ed375-7d90-4a84-93f2-03ffaae48f30" providerId="ADAL" clId="{03E48706-ED28-4E40-9B7D-8C36692CE558}" dt="2023-10-04T12:10:47.313" v="101112"/>
          <ac:spMkLst>
            <pc:docMk/>
            <pc:sldMk cId="2915508219" sldId="2147375778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10-04T12:10:47.313" v="101113"/>
          <ac:spMkLst>
            <pc:docMk/>
            <pc:sldMk cId="2915508219" sldId="2147375778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10-04T12:10:47.313" v="101114"/>
          <ac:spMkLst>
            <pc:docMk/>
            <pc:sldMk cId="2915508219" sldId="2147375778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10-04T12:10:47.315" v="101115"/>
          <ac:spMkLst>
            <pc:docMk/>
            <pc:sldMk cId="2915508219" sldId="2147375778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10-04T12:10:47.316" v="101116"/>
          <ac:spMkLst>
            <pc:docMk/>
            <pc:sldMk cId="2915508219" sldId="2147375778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10-04T12:10:47.316" v="101117"/>
          <ac:spMkLst>
            <pc:docMk/>
            <pc:sldMk cId="2915508219" sldId="2147375778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10-04T12:10:47.317" v="101118"/>
          <ac:spMkLst>
            <pc:docMk/>
            <pc:sldMk cId="2915508219" sldId="2147375778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10-04T12:10:47.317" v="101119"/>
          <ac:spMkLst>
            <pc:docMk/>
            <pc:sldMk cId="2915508219" sldId="2147375778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10-04T12:10:47.318" v="101120"/>
          <ac:spMkLst>
            <pc:docMk/>
            <pc:sldMk cId="2915508219" sldId="2147375778"/>
            <ac:spMk id="35" creationId="{EEF6EB0C-177E-9BFB-6BFF-0CA68710799F}"/>
          </ac:spMkLst>
        </pc:spChg>
        <pc:spChg chg="mod ord">
          <ac:chgData name="Jorge Costa" userId="6f0ed375-7d90-4a84-93f2-03ffaae48f30" providerId="ADAL" clId="{03E48706-ED28-4E40-9B7D-8C36692CE558}" dt="2023-10-04T11:58:01.522" v="100591"/>
          <ac:spMkLst>
            <pc:docMk/>
            <pc:sldMk cId="2915508219" sldId="2147375778"/>
            <ac:spMk id="36" creationId="{C7BE119C-D6B5-ACD1-6D46-163A2406E415}"/>
          </ac:spMkLst>
        </pc:spChg>
        <pc:spChg chg="mod ord">
          <ac:chgData name="Jorge Costa" userId="6f0ed375-7d90-4a84-93f2-03ffaae48f30" providerId="ADAL" clId="{03E48706-ED28-4E40-9B7D-8C36692CE558}" dt="2023-10-04T11:58:01.523" v="100593"/>
          <ac:spMkLst>
            <pc:docMk/>
            <pc:sldMk cId="2915508219" sldId="2147375778"/>
            <ac:spMk id="37" creationId="{8F8A812D-0C52-07DA-6856-058296E1F7A8}"/>
          </ac:spMkLst>
        </pc:spChg>
        <pc:spChg chg="mod ord">
          <ac:chgData name="Jorge Costa" userId="6f0ed375-7d90-4a84-93f2-03ffaae48f30" providerId="ADAL" clId="{03E48706-ED28-4E40-9B7D-8C36692CE558}" dt="2023-10-04T11:58:01.525" v="100595"/>
          <ac:spMkLst>
            <pc:docMk/>
            <pc:sldMk cId="2915508219" sldId="2147375778"/>
            <ac:spMk id="44" creationId="{4AB766B7-0E6C-C687-E570-C05ECF362FE6}"/>
          </ac:spMkLst>
        </pc:spChg>
        <pc:spChg chg="mod ord">
          <ac:chgData name="Jorge Costa" userId="6f0ed375-7d90-4a84-93f2-03ffaae48f30" providerId="ADAL" clId="{03E48706-ED28-4E40-9B7D-8C36692CE558}" dt="2023-10-04T12:10:47.291" v="101105" actId="948"/>
          <ac:spMkLst>
            <pc:docMk/>
            <pc:sldMk cId="2915508219" sldId="2147375778"/>
            <ac:spMk id="45" creationId="{205C4B26-7BE9-7610-472A-6B9C94C590BA}"/>
          </ac:spMkLst>
        </pc:spChg>
        <pc:spChg chg="mod ord">
          <ac:chgData name="Jorge Costa" userId="6f0ed375-7d90-4a84-93f2-03ffaae48f30" providerId="ADAL" clId="{03E48706-ED28-4E40-9B7D-8C36692CE558}" dt="2023-10-04T11:58:01.452" v="100511"/>
          <ac:spMkLst>
            <pc:docMk/>
            <pc:sldMk cId="2915508219" sldId="2147375778"/>
            <ac:spMk id="48" creationId="{6FF69AF1-D5AD-AEC7-C75D-E895A3E559B5}"/>
          </ac:spMkLst>
        </pc:spChg>
        <pc:spChg chg="mod ord">
          <ac:chgData name="Jorge Costa" userId="6f0ed375-7d90-4a84-93f2-03ffaae48f30" providerId="ADAL" clId="{03E48706-ED28-4E40-9B7D-8C36692CE558}" dt="2023-10-04T12:10:47.290" v="101104" actId="948"/>
          <ac:spMkLst>
            <pc:docMk/>
            <pc:sldMk cId="2915508219" sldId="2147375778"/>
            <ac:spMk id="49" creationId="{FB2A9EC2-F8F7-39CD-A41B-C951F449053A}"/>
          </ac:spMkLst>
        </pc:spChg>
        <pc:spChg chg="mod ord">
          <ac:chgData name="Jorge Costa" userId="6f0ed375-7d90-4a84-93f2-03ffaae48f30" providerId="ADAL" clId="{03E48706-ED28-4E40-9B7D-8C36692CE558}" dt="2023-10-04T11:58:01.455" v="100515"/>
          <ac:spMkLst>
            <pc:docMk/>
            <pc:sldMk cId="2915508219" sldId="2147375778"/>
            <ac:spMk id="52" creationId="{A667FBF5-DE13-5C61-AB9F-3777CEF691DF}"/>
          </ac:spMkLst>
        </pc:spChg>
        <pc:spChg chg="mod ord">
          <ac:chgData name="Jorge Costa" userId="6f0ed375-7d90-4a84-93f2-03ffaae48f30" providerId="ADAL" clId="{03E48706-ED28-4E40-9B7D-8C36692CE558}" dt="2023-10-04T11:58:01.414" v="100468"/>
          <ac:spMkLst>
            <pc:docMk/>
            <pc:sldMk cId="2915508219" sldId="2147375778"/>
            <ac:spMk id="76" creationId="{24951F3E-9F97-5DBE-B77A-298A28CA4AAD}"/>
          </ac:spMkLst>
        </pc:spChg>
        <pc:spChg chg="mod">
          <ac:chgData name="Jorge Costa" userId="6f0ed375-7d90-4a84-93f2-03ffaae48f30" providerId="ADAL" clId="{03E48706-ED28-4E40-9B7D-8C36692CE558}" dt="2023-10-04T11:58:01.421" v="100479"/>
          <ac:spMkLst>
            <pc:docMk/>
            <pc:sldMk cId="2915508219" sldId="2147375778"/>
            <ac:spMk id="84" creationId="{B1502E28-8F22-CEA5-4D70-E88101056327}"/>
          </ac:spMkLst>
        </pc:spChg>
        <pc:spChg chg="mod ord">
          <ac:chgData name="Jorge Costa" userId="6f0ed375-7d90-4a84-93f2-03ffaae48f30" providerId="ADAL" clId="{03E48706-ED28-4E40-9B7D-8C36692CE558}" dt="2023-10-04T11:58:01.440" v="100499"/>
          <ac:spMkLst>
            <pc:docMk/>
            <pc:sldMk cId="2915508219" sldId="2147375778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10-04T11:58:01.441" v="100501"/>
          <ac:spMkLst>
            <pc:docMk/>
            <pc:sldMk cId="2915508219" sldId="2147375778"/>
            <ac:spMk id="103" creationId="{B3E03E21-2D27-3131-9305-2E086B933DB0}"/>
          </ac:spMkLst>
        </pc:spChg>
        <pc:spChg chg="mod ord">
          <ac:chgData name="Jorge Costa" userId="6f0ed375-7d90-4a84-93f2-03ffaae48f30" providerId="ADAL" clId="{03E48706-ED28-4E40-9B7D-8C36692CE558}" dt="2023-10-04T11:58:01.444" v="100505"/>
          <ac:spMkLst>
            <pc:docMk/>
            <pc:sldMk cId="2915508219" sldId="2147375778"/>
            <ac:spMk id="115" creationId="{1AE70446-B4CE-2D72-0BD7-240EE57C8F21}"/>
          </ac:spMkLst>
        </pc:spChg>
        <pc:spChg chg="mod">
          <ac:chgData name="Jorge Costa" userId="6f0ed375-7d90-4a84-93f2-03ffaae48f30" providerId="ADAL" clId="{03E48706-ED28-4E40-9B7D-8C36692CE558}" dt="2023-10-04T12:10:47.277" v="101090"/>
          <ac:spMkLst>
            <pc:docMk/>
            <pc:sldMk cId="2915508219" sldId="2147375778"/>
            <ac:spMk id="131" creationId="{CC798BAB-2E2F-895E-0067-E110844B9C0F}"/>
          </ac:spMkLst>
        </pc:spChg>
        <pc:spChg chg="mod">
          <ac:chgData name="Jorge Costa" userId="6f0ed375-7d90-4a84-93f2-03ffaae48f30" providerId="ADAL" clId="{03E48706-ED28-4E40-9B7D-8C36692CE558}" dt="2023-10-04T12:10:47.259" v="101063"/>
          <ac:spMkLst>
            <pc:docMk/>
            <pc:sldMk cId="2915508219" sldId="2147375778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10-04T12:10:47.287" v="101099" actId="948"/>
          <ac:spMkLst>
            <pc:docMk/>
            <pc:sldMk cId="2915508219" sldId="2147375778"/>
            <ac:spMk id="135" creationId="{F9039647-D59B-E747-6EC5-ACCB872A93DE}"/>
          </ac:spMkLst>
        </pc:spChg>
        <pc:spChg chg="mod">
          <ac:chgData name="Jorge Costa" userId="6f0ed375-7d90-4a84-93f2-03ffaae48f30" providerId="ADAL" clId="{03E48706-ED28-4E40-9B7D-8C36692CE558}" dt="2023-10-04T12:10:47.278" v="101091"/>
          <ac:spMkLst>
            <pc:docMk/>
            <pc:sldMk cId="2915508219" sldId="2147375778"/>
            <ac:spMk id="138" creationId="{8C780FA9-0134-8146-6C92-216EB8325815}"/>
          </ac:spMkLst>
        </pc:spChg>
        <pc:spChg chg="mod ord">
          <ac:chgData name="Jorge Costa" userId="6f0ed375-7d90-4a84-93f2-03ffaae48f30" providerId="ADAL" clId="{03E48706-ED28-4E40-9B7D-8C36692CE558}" dt="2023-10-04T12:10:47.292" v="101106" actId="948"/>
          <ac:spMkLst>
            <pc:docMk/>
            <pc:sldMk cId="2915508219" sldId="2147375778"/>
            <ac:spMk id="140" creationId="{A54749A8-E351-3ABF-856F-4F56C085586F}"/>
          </ac:spMkLst>
        </pc:spChg>
        <pc:spChg chg="mod">
          <ac:chgData name="Jorge Costa" userId="6f0ed375-7d90-4a84-93f2-03ffaae48f30" providerId="ADAL" clId="{03E48706-ED28-4E40-9B7D-8C36692CE558}" dt="2023-10-04T12:10:47.279" v="101092"/>
          <ac:spMkLst>
            <pc:docMk/>
            <pc:sldMk cId="2915508219" sldId="2147375778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10-04T12:10:47.279" v="101093"/>
          <ac:spMkLst>
            <pc:docMk/>
            <pc:sldMk cId="2915508219" sldId="2147375778"/>
            <ac:spMk id="143" creationId="{BC0B9DA0-2056-FBB9-2F75-87406D42E7CA}"/>
          </ac:spMkLst>
        </pc:spChg>
        <pc:spChg chg="mod">
          <ac:chgData name="Jorge Costa" userId="6f0ed375-7d90-4a84-93f2-03ffaae48f30" providerId="ADAL" clId="{03E48706-ED28-4E40-9B7D-8C36692CE558}" dt="2023-10-04T12:10:47.281" v="101094"/>
          <ac:spMkLst>
            <pc:docMk/>
            <pc:sldMk cId="2915508219" sldId="2147375778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10-04T12:10:47.282" v="101095"/>
          <ac:spMkLst>
            <pc:docMk/>
            <pc:sldMk cId="2915508219" sldId="2147375778"/>
            <ac:spMk id="146" creationId="{BE11FADF-F089-21E6-BBDE-DB42BE9ED1AC}"/>
          </ac:spMkLst>
        </pc:spChg>
        <pc:spChg chg="mod">
          <ac:chgData name="Jorge Costa" userId="6f0ed375-7d90-4a84-93f2-03ffaae48f30" providerId="ADAL" clId="{03E48706-ED28-4E40-9B7D-8C36692CE558}" dt="2023-10-04T12:10:47.273" v="101084"/>
          <ac:spMkLst>
            <pc:docMk/>
            <pc:sldMk cId="2915508219" sldId="2147375778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10-04T12:10:47.273" v="101083"/>
          <ac:spMkLst>
            <pc:docMk/>
            <pc:sldMk cId="2915508219" sldId="2147375778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10-04T12:10:47.289" v="101102" actId="948"/>
          <ac:spMkLst>
            <pc:docMk/>
            <pc:sldMk cId="2915508219" sldId="2147375778"/>
            <ac:spMk id="156" creationId="{74B262B7-2ED3-984F-6D4E-2C5B5383265C}"/>
          </ac:spMkLst>
        </pc:spChg>
        <pc:spChg chg="mod ord">
          <ac:chgData name="Jorge Costa" userId="6f0ed375-7d90-4a84-93f2-03ffaae48f30" providerId="ADAL" clId="{03E48706-ED28-4E40-9B7D-8C36692CE558}" dt="2023-10-04T12:10:47.288" v="101101" actId="948"/>
          <ac:spMkLst>
            <pc:docMk/>
            <pc:sldMk cId="2915508219" sldId="2147375778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10-04T12:10:47.272" v="101082"/>
          <ac:spMkLst>
            <pc:docMk/>
            <pc:sldMk cId="2915508219" sldId="2147375778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10-04T12:10:47.286" v="101097" actId="948"/>
          <ac:spMkLst>
            <pc:docMk/>
            <pc:sldMk cId="2915508219" sldId="2147375778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10-04T12:10:47.272" v="101081"/>
          <ac:spMkLst>
            <pc:docMk/>
            <pc:sldMk cId="2915508219" sldId="2147375778"/>
            <ac:spMk id="162" creationId="{E96C98CC-35E6-155F-A2BB-395D92252494}"/>
          </ac:spMkLst>
        </pc:spChg>
        <pc:spChg chg="mod">
          <ac:chgData name="Jorge Costa" userId="6f0ed375-7d90-4a84-93f2-03ffaae48f30" providerId="ADAL" clId="{03E48706-ED28-4E40-9B7D-8C36692CE558}" dt="2023-10-04T12:10:47.261" v="101064"/>
          <ac:spMkLst>
            <pc:docMk/>
            <pc:sldMk cId="2915508219" sldId="2147375778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10-04T12:10:47.271" v="101080"/>
          <ac:spMkLst>
            <pc:docMk/>
            <pc:sldMk cId="2915508219" sldId="2147375778"/>
            <ac:spMk id="168" creationId="{4748057F-0C0B-F1F8-88A7-91DA9C5AF497}"/>
          </ac:spMkLst>
        </pc:spChg>
        <pc:spChg chg="mod">
          <ac:chgData name="Jorge Costa" userId="6f0ed375-7d90-4a84-93f2-03ffaae48f30" providerId="ADAL" clId="{03E48706-ED28-4E40-9B7D-8C36692CE558}" dt="2023-10-04T12:10:47.271" v="101079"/>
          <ac:spMkLst>
            <pc:docMk/>
            <pc:sldMk cId="2915508219" sldId="2147375778"/>
            <ac:spMk id="170" creationId="{4240C9BD-DD2D-3CA5-8728-54621356617B}"/>
          </ac:spMkLst>
        </pc:spChg>
        <pc:spChg chg="mod">
          <ac:chgData name="Jorge Costa" userId="6f0ed375-7d90-4a84-93f2-03ffaae48f30" providerId="ADAL" clId="{03E48706-ED28-4E40-9B7D-8C36692CE558}" dt="2023-10-04T12:10:47.262" v="101065"/>
          <ac:spMkLst>
            <pc:docMk/>
            <pc:sldMk cId="2915508219" sldId="2147375778"/>
            <ac:spMk id="173" creationId="{7AF10FE1-B7CD-3BCD-6912-E6DF44DA3A86}"/>
          </ac:spMkLst>
        </pc:spChg>
        <pc:spChg chg="mod">
          <ac:chgData name="Jorge Costa" userId="6f0ed375-7d90-4a84-93f2-03ffaae48f30" providerId="ADAL" clId="{03E48706-ED28-4E40-9B7D-8C36692CE558}" dt="2023-10-04T12:10:47.282" v="101096"/>
          <ac:spMkLst>
            <pc:docMk/>
            <pc:sldMk cId="2915508219" sldId="2147375778"/>
            <ac:spMk id="174" creationId="{257A72B1-B43D-7CCE-D605-973A834ED004}"/>
          </ac:spMkLst>
        </pc:spChg>
        <pc:spChg chg="mod ord">
          <ac:chgData name="Jorge Costa" userId="6f0ed375-7d90-4a84-93f2-03ffaae48f30" providerId="ADAL" clId="{03E48706-ED28-4E40-9B7D-8C36692CE558}" dt="2023-10-04T11:58:01.509" v="100571"/>
          <ac:spMkLst>
            <pc:docMk/>
            <pc:sldMk cId="2915508219" sldId="2147375778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10-04T11:58:01.511" v="100573"/>
          <ac:spMkLst>
            <pc:docMk/>
            <pc:sldMk cId="2915508219" sldId="2147375778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10-04T11:58:01.513" v="100575"/>
          <ac:spMkLst>
            <pc:docMk/>
            <pc:sldMk cId="2915508219" sldId="2147375778"/>
            <ac:spMk id="180" creationId="{93122604-BC10-4A4C-9E24-2940B7629D74}"/>
          </ac:spMkLst>
        </pc:spChg>
        <pc:spChg chg="mod ord">
          <ac:chgData name="Jorge Costa" userId="6f0ed375-7d90-4a84-93f2-03ffaae48f30" providerId="ADAL" clId="{03E48706-ED28-4E40-9B7D-8C36692CE558}" dt="2023-10-04T11:58:01.515" v="100577"/>
          <ac:spMkLst>
            <pc:docMk/>
            <pc:sldMk cId="2915508219" sldId="2147375778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10-04T11:58:01.516" v="100579"/>
          <ac:spMkLst>
            <pc:docMk/>
            <pc:sldMk cId="2915508219" sldId="2147375778"/>
            <ac:spMk id="195" creationId="{F131440F-02C5-68E7-D763-68D844A9F18E}"/>
          </ac:spMkLst>
        </pc:spChg>
        <pc:spChg chg="mod">
          <ac:chgData name="Jorge Costa" userId="6f0ed375-7d90-4a84-93f2-03ffaae48f30" providerId="ADAL" clId="{03E48706-ED28-4E40-9B7D-8C36692CE558}" dt="2023-10-04T12:10:47.262" v="101066"/>
          <ac:spMkLst>
            <pc:docMk/>
            <pc:sldMk cId="2915508219" sldId="2147375778"/>
            <ac:spMk id="199" creationId="{40EEFEAF-254D-5C7A-2B9F-0F919AF9B384}"/>
          </ac:spMkLst>
        </pc:spChg>
        <pc:spChg chg="mod">
          <ac:chgData name="Jorge Costa" userId="6f0ed375-7d90-4a84-93f2-03ffaae48f30" providerId="ADAL" clId="{03E48706-ED28-4E40-9B7D-8C36692CE558}" dt="2023-10-04T12:10:47.265" v="101069"/>
          <ac:spMkLst>
            <pc:docMk/>
            <pc:sldMk cId="2915508219" sldId="2147375778"/>
            <ac:spMk id="206" creationId="{894DAD30-7813-6E94-5ABF-1E3DF6DB8418}"/>
          </ac:spMkLst>
        </pc:spChg>
        <pc:spChg chg="mod">
          <ac:chgData name="Jorge Costa" userId="6f0ed375-7d90-4a84-93f2-03ffaae48f30" providerId="ADAL" clId="{03E48706-ED28-4E40-9B7D-8C36692CE558}" dt="2023-10-04T12:10:47.265" v="101070"/>
          <ac:spMkLst>
            <pc:docMk/>
            <pc:sldMk cId="2915508219" sldId="2147375778"/>
            <ac:spMk id="207" creationId="{850F9517-ECFB-E488-B468-E33A5F6BB095}"/>
          </ac:spMkLst>
        </pc:spChg>
        <pc:spChg chg="mod">
          <ac:chgData name="Jorge Costa" userId="6f0ed375-7d90-4a84-93f2-03ffaae48f30" providerId="ADAL" clId="{03E48706-ED28-4E40-9B7D-8C36692CE558}" dt="2023-10-04T12:10:47.263" v="101067"/>
          <ac:spMkLst>
            <pc:docMk/>
            <pc:sldMk cId="2915508219" sldId="2147375778"/>
            <ac:spMk id="209" creationId="{BA5B6B01-D73F-75C5-D489-B3ECAA379034}"/>
          </ac:spMkLst>
        </pc:spChg>
        <pc:spChg chg="mod">
          <ac:chgData name="Jorge Costa" userId="6f0ed375-7d90-4a84-93f2-03ffaae48f30" providerId="ADAL" clId="{03E48706-ED28-4E40-9B7D-8C36692CE558}" dt="2023-10-04T12:10:47.307" v="101108"/>
          <ac:spMkLst>
            <pc:docMk/>
            <pc:sldMk cId="2915508219" sldId="2147375778"/>
            <ac:spMk id="210" creationId="{8CD50C0A-0215-2DF6-9B20-64FB758324BB}"/>
          </ac:spMkLst>
        </pc:spChg>
        <pc:spChg chg="mod">
          <ac:chgData name="Jorge Costa" userId="6f0ed375-7d90-4a84-93f2-03ffaae48f30" providerId="ADAL" clId="{03E48706-ED28-4E40-9B7D-8C36692CE558}" dt="2023-10-04T12:10:47.275" v="101085"/>
          <ac:spMkLst>
            <pc:docMk/>
            <pc:sldMk cId="2915508219" sldId="2147375778"/>
            <ac:spMk id="212" creationId="{21F5BB6B-DA6C-93B8-83FE-04433C6F3A71}"/>
          </ac:spMkLst>
        </pc:spChg>
        <pc:spChg chg="mod">
          <ac:chgData name="Jorge Costa" userId="6f0ed375-7d90-4a84-93f2-03ffaae48f30" providerId="ADAL" clId="{03E48706-ED28-4E40-9B7D-8C36692CE558}" dt="2023-10-04T12:10:47.275" v="101086"/>
          <ac:spMkLst>
            <pc:docMk/>
            <pc:sldMk cId="2915508219" sldId="2147375778"/>
            <ac:spMk id="213" creationId="{917C34F6-2326-93A7-D8E1-F94B0B121E1D}"/>
          </ac:spMkLst>
        </pc:spChg>
        <pc:spChg chg="mod ord">
          <ac:chgData name="Jorge Costa" userId="6f0ed375-7d90-4a84-93f2-03ffaae48f30" providerId="ADAL" clId="{03E48706-ED28-4E40-9B7D-8C36692CE558}" dt="2023-10-04T12:10:47.287" v="101098" actId="948"/>
          <ac:spMkLst>
            <pc:docMk/>
            <pc:sldMk cId="2915508219" sldId="2147375778"/>
            <ac:spMk id="218" creationId="{79D6D7FE-B1F1-AA27-64EE-AF749B104A05}"/>
          </ac:spMkLst>
        </pc:spChg>
        <pc:spChg chg="mod">
          <ac:chgData name="Jorge Costa" userId="6f0ed375-7d90-4a84-93f2-03ffaae48f30" providerId="ADAL" clId="{03E48706-ED28-4E40-9B7D-8C36692CE558}" dt="2023-10-04T12:10:47.275" v="101087"/>
          <ac:spMkLst>
            <pc:docMk/>
            <pc:sldMk cId="2915508219" sldId="2147375778"/>
            <ac:spMk id="219" creationId="{C12D7DE2-165F-0463-1B24-131D7FF67B2D}"/>
          </ac:spMkLst>
        </pc:spChg>
        <pc:spChg chg="mod ord">
          <ac:chgData name="Jorge Costa" userId="6f0ed375-7d90-4a84-93f2-03ffaae48f30" providerId="ADAL" clId="{03E48706-ED28-4E40-9B7D-8C36692CE558}" dt="2023-10-04T11:58:01.446" v="100507"/>
          <ac:spMkLst>
            <pc:docMk/>
            <pc:sldMk cId="2915508219" sldId="2147375778"/>
            <ac:spMk id="220" creationId="{6D78526E-2B10-88C3-6768-7BDAB7F75759}"/>
          </ac:spMkLst>
        </pc:spChg>
        <pc:spChg chg="mod">
          <ac:chgData name="Jorge Costa" userId="6f0ed375-7d90-4a84-93f2-03ffaae48f30" providerId="ADAL" clId="{03E48706-ED28-4E40-9B7D-8C36692CE558}" dt="2023-10-04T12:10:47.276" v="101088"/>
          <ac:spMkLst>
            <pc:docMk/>
            <pc:sldMk cId="2915508219" sldId="2147375778"/>
            <ac:spMk id="225" creationId="{B910A2BF-47B6-01B4-31F7-114FCA48B4CE}"/>
          </ac:spMkLst>
        </pc:spChg>
        <pc:spChg chg="mod ord">
          <ac:chgData name="Jorge Costa" userId="6f0ed375-7d90-4a84-93f2-03ffaae48f30" providerId="ADAL" clId="{03E48706-ED28-4E40-9B7D-8C36692CE558}" dt="2023-10-04T11:58:01.358" v="100407"/>
          <ac:spMkLst>
            <pc:docMk/>
            <pc:sldMk cId="2915508219" sldId="2147375778"/>
            <ac:spMk id="228" creationId="{D66CAD60-6DC1-2BC1-F0D1-6A99429942FA}"/>
          </ac:spMkLst>
        </pc:spChg>
        <pc:spChg chg="mod ord">
          <ac:chgData name="Jorge Costa" userId="6f0ed375-7d90-4a84-93f2-03ffaae48f30" providerId="ADAL" clId="{03E48706-ED28-4E40-9B7D-8C36692CE558}" dt="2023-10-04T12:10:47.288" v="101100" actId="948"/>
          <ac:spMkLst>
            <pc:docMk/>
            <pc:sldMk cId="2915508219" sldId="2147375778"/>
            <ac:spMk id="231" creationId="{99C41708-698B-72FB-A368-5693C925C815}"/>
          </ac:spMkLst>
        </pc:spChg>
        <pc:spChg chg="mod ord">
          <ac:chgData name="Jorge Costa" userId="6f0ed375-7d90-4a84-93f2-03ffaae48f30" providerId="ADAL" clId="{03E48706-ED28-4E40-9B7D-8C36692CE558}" dt="2023-10-04T11:58:01.442" v="100503"/>
          <ac:spMkLst>
            <pc:docMk/>
            <pc:sldMk cId="2915508219" sldId="2147375778"/>
            <ac:spMk id="233" creationId="{E46C6C3C-AAD0-D194-8350-89E820355154}"/>
          </ac:spMkLst>
        </pc:spChg>
        <pc:spChg chg="mod ord">
          <ac:chgData name="Jorge Costa" userId="6f0ed375-7d90-4a84-93f2-03ffaae48f30" providerId="ADAL" clId="{03E48706-ED28-4E40-9B7D-8C36692CE558}" dt="2023-10-04T11:58:27.368" v="100648"/>
          <ac:spMkLst>
            <pc:docMk/>
            <pc:sldMk cId="2915508219" sldId="2147375778"/>
            <ac:spMk id="249" creationId="{08C8FAA5-ED6C-3FBA-4B8E-29DC0E7B6DFA}"/>
          </ac:spMkLst>
        </pc:spChg>
        <pc:spChg chg="mod ord">
          <ac:chgData name="Jorge Costa" userId="6f0ed375-7d90-4a84-93f2-03ffaae48f30" providerId="ADAL" clId="{03E48706-ED28-4E40-9B7D-8C36692CE558}" dt="2023-10-04T11:58:27.374" v="100652"/>
          <ac:spMkLst>
            <pc:docMk/>
            <pc:sldMk cId="2915508219" sldId="2147375778"/>
            <ac:spMk id="252" creationId="{272EB058-B658-E755-36F2-69D0916558B9}"/>
          </ac:spMkLst>
        </pc:spChg>
        <pc:spChg chg="mod ord">
          <ac:chgData name="Jorge Costa" userId="6f0ed375-7d90-4a84-93f2-03ffaae48f30" providerId="ADAL" clId="{03E48706-ED28-4E40-9B7D-8C36692CE558}" dt="2023-10-04T11:58:01.415" v="100470"/>
          <ac:spMkLst>
            <pc:docMk/>
            <pc:sldMk cId="2915508219" sldId="2147375778"/>
            <ac:spMk id="256" creationId="{E790CE0B-0FB4-FF3E-7074-B71D0F7ED886}"/>
          </ac:spMkLst>
        </pc:spChg>
        <pc:spChg chg="mod ord">
          <ac:chgData name="Jorge Costa" userId="6f0ed375-7d90-4a84-93f2-03ffaae48f30" providerId="ADAL" clId="{03E48706-ED28-4E40-9B7D-8C36692CE558}" dt="2023-10-04T11:58:01.419" v="100476"/>
          <ac:spMkLst>
            <pc:docMk/>
            <pc:sldMk cId="2915508219" sldId="2147375778"/>
            <ac:spMk id="261" creationId="{A643FC65-CE93-41EA-0045-BB38D4EC9B69}"/>
          </ac:spMkLst>
        </pc:spChg>
        <pc:spChg chg="mod ord">
          <ac:chgData name="Jorge Costa" userId="6f0ed375-7d90-4a84-93f2-03ffaae48f30" providerId="ADAL" clId="{03E48706-ED28-4E40-9B7D-8C36692CE558}" dt="2023-10-04T11:58:01.418" v="100474"/>
          <ac:spMkLst>
            <pc:docMk/>
            <pc:sldMk cId="2915508219" sldId="2147375778"/>
            <ac:spMk id="262" creationId="{7C9CD783-CB7B-749E-5B5D-05D34934C419}"/>
          </ac:spMkLst>
        </pc:spChg>
        <pc:spChg chg="mod ord">
          <ac:chgData name="Jorge Costa" userId="6f0ed375-7d90-4a84-93f2-03ffaae48f30" providerId="ADAL" clId="{03E48706-ED28-4E40-9B7D-8C36692CE558}" dt="2023-10-04T11:58:01.416" v="100472"/>
          <ac:spMkLst>
            <pc:docMk/>
            <pc:sldMk cId="2915508219" sldId="2147375778"/>
            <ac:spMk id="263" creationId="{478FF208-C51C-ED80-6E54-9C47200F723A}"/>
          </ac:spMkLst>
        </pc:spChg>
        <pc:spChg chg="mod">
          <ac:chgData name="Jorge Costa" userId="6f0ed375-7d90-4a84-93f2-03ffaae48f30" providerId="ADAL" clId="{03E48706-ED28-4E40-9B7D-8C36692CE558}" dt="2023-10-04T12:10:47.265" v="101071"/>
          <ac:spMkLst>
            <pc:docMk/>
            <pc:sldMk cId="2915508219" sldId="2147375778"/>
            <ac:spMk id="265" creationId="{92FD06B6-4DCF-7E96-BD48-1A740B57B92E}"/>
          </ac:spMkLst>
        </pc:spChg>
        <pc:spChg chg="mod">
          <ac:chgData name="Jorge Costa" userId="6f0ed375-7d90-4a84-93f2-03ffaae48f30" providerId="ADAL" clId="{03E48706-ED28-4E40-9B7D-8C36692CE558}" dt="2023-10-04T12:10:47.266" v="101072"/>
          <ac:spMkLst>
            <pc:docMk/>
            <pc:sldMk cId="2915508219" sldId="2147375778"/>
            <ac:spMk id="266" creationId="{1559256F-F20E-8798-9DB7-0C82D329BCFD}"/>
          </ac:spMkLst>
        </pc:spChg>
        <pc:spChg chg="mod">
          <ac:chgData name="Jorge Costa" userId="6f0ed375-7d90-4a84-93f2-03ffaae48f30" providerId="ADAL" clId="{03E48706-ED28-4E40-9B7D-8C36692CE558}" dt="2023-10-04T12:10:47.267" v="101073"/>
          <ac:spMkLst>
            <pc:docMk/>
            <pc:sldMk cId="2915508219" sldId="2147375778"/>
            <ac:spMk id="268" creationId="{CCC2D123-7072-1AEF-B6A7-A363D0821BD5}"/>
          </ac:spMkLst>
        </pc:spChg>
        <pc:spChg chg="mod">
          <ac:chgData name="Jorge Costa" userId="6f0ed375-7d90-4a84-93f2-03ffaae48f30" providerId="ADAL" clId="{03E48706-ED28-4E40-9B7D-8C36692CE558}" dt="2023-10-04T12:10:47.267" v="101074"/>
          <ac:spMkLst>
            <pc:docMk/>
            <pc:sldMk cId="2915508219" sldId="2147375778"/>
            <ac:spMk id="269" creationId="{170C7B49-D17A-9446-9CC7-A2F45A486240}"/>
          </ac:spMkLst>
        </pc:spChg>
        <pc:spChg chg="mod">
          <ac:chgData name="Jorge Costa" userId="6f0ed375-7d90-4a84-93f2-03ffaae48f30" providerId="ADAL" clId="{03E48706-ED28-4E40-9B7D-8C36692CE558}" dt="2023-10-04T12:10:47.269" v="101077"/>
          <ac:spMkLst>
            <pc:docMk/>
            <pc:sldMk cId="2915508219" sldId="2147375778"/>
            <ac:spMk id="271" creationId="{6A0DF490-A9A0-1972-FBF8-0ABA7F171A41}"/>
          </ac:spMkLst>
        </pc:spChg>
        <pc:spChg chg="mod">
          <ac:chgData name="Jorge Costa" userId="6f0ed375-7d90-4a84-93f2-03ffaae48f30" providerId="ADAL" clId="{03E48706-ED28-4E40-9B7D-8C36692CE558}" dt="2023-10-04T12:10:47.270" v="101078"/>
          <ac:spMkLst>
            <pc:docMk/>
            <pc:sldMk cId="2915508219" sldId="2147375778"/>
            <ac:spMk id="272" creationId="{833E35FD-361D-C41E-EB00-AF9C6151E619}"/>
          </ac:spMkLst>
        </pc:spChg>
        <pc:spChg chg="mod">
          <ac:chgData name="Jorge Costa" userId="6f0ed375-7d90-4a84-93f2-03ffaae48f30" providerId="ADAL" clId="{03E48706-ED28-4E40-9B7D-8C36692CE558}" dt="2023-10-04T12:10:47.268" v="101075"/>
          <ac:spMkLst>
            <pc:docMk/>
            <pc:sldMk cId="2915508219" sldId="2147375778"/>
            <ac:spMk id="274" creationId="{70438977-0367-9BDF-A394-FE015170C131}"/>
          </ac:spMkLst>
        </pc:spChg>
        <pc:spChg chg="mod">
          <ac:chgData name="Jorge Costa" userId="6f0ed375-7d90-4a84-93f2-03ffaae48f30" providerId="ADAL" clId="{03E48706-ED28-4E40-9B7D-8C36692CE558}" dt="2023-10-04T12:10:47.269" v="101076"/>
          <ac:spMkLst>
            <pc:docMk/>
            <pc:sldMk cId="2915508219" sldId="2147375778"/>
            <ac:spMk id="275" creationId="{1CBDE126-E161-E13C-EBB5-4D8F36F097C8}"/>
          </ac:spMkLst>
        </pc:spChg>
        <pc:spChg chg="mod ord">
          <ac:chgData name="Jorge Costa" userId="6f0ed375-7d90-4a84-93f2-03ffaae48f30" providerId="ADAL" clId="{03E48706-ED28-4E40-9B7D-8C36692CE558}" dt="2023-10-04T11:58:01.423" v="100483"/>
          <ac:spMkLst>
            <pc:docMk/>
            <pc:sldMk cId="2915508219" sldId="2147375778"/>
            <ac:spMk id="277" creationId="{5B97176E-70D3-F96E-B388-E353E85E17EB}"/>
          </ac:spMkLst>
        </pc:spChg>
        <pc:spChg chg="mod ord">
          <ac:chgData name="Jorge Costa" userId="6f0ed375-7d90-4a84-93f2-03ffaae48f30" providerId="ADAL" clId="{03E48706-ED28-4E40-9B7D-8C36692CE558}" dt="2023-10-04T12:07:25.953" v="100844"/>
          <ac:spMkLst>
            <pc:docMk/>
            <pc:sldMk cId="2915508219" sldId="2147375778"/>
            <ac:spMk id="278" creationId="{CB516C47-F515-0FED-DA20-4059EF55EF99}"/>
          </ac:spMkLst>
        </pc:spChg>
        <pc:spChg chg="mod ord">
          <ac:chgData name="Jorge Costa" userId="6f0ed375-7d90-4a84-93f2-03ffaae48f30" providerId="ADAL" clId="{03E48706-ED28-4E40-9B7D-8C36692CE558}" dt="2023-10-04T12:10:47.290" v="101103" actId="948"/>
          <ac:spMkLst>
            <pc:docMk/>
            <pc:sldMk cId="2915508219" sldId="2147375778"/>
            <ac:spMk id="279" creationId="{6BC610D1-575F-ECF6-2183-D2E011BBF205}"/>
          </ac:spMkLst>
        </pc:spChg>
        <pc:spChg chg="mod ord">
          <ac:chgData name="Jorge Costa" userId="6f0ed375-7d90-4a84-93f2-03ffaae48f30" providerId="ADAL" clId="{03E48706-ED28-4E40-9B7D-8C36692CE558}" dt="2023-10-04T11:58:01.454" v="100513"/>
          <ac:spMkLst>
            <pc:docMk/>
            <pc:sldMk cId="2915508219" sldId="2147375778"/>
            <ac:spMk id="281" creationId="{5E1CD2B4-AA0D-072D-E08B-67B0FC2817A0}"/>
          </ac:spMkLst>
        </pc:spChg>
        <pc:spChg chg="mod ord">
          <ac:chgData name="Jorge Costa" userId="6f0ed375-7d90-4a84-93f2-03ffaae48f30" providerId="ADAL" clId="{03E48706-ED28-4E40-9B7D-8C36692CE558}" dt="2023-10-04T12:08:48.757" v="100976"/>
          <ac:spMkLst>
            <pc:docMk/>
            <pc:sldMk cId="2915508219" sldId="2147375778"/>
            <ac:spMk id="282" creationId="{2BBC97CA-8992-FCF0-4F63-B4901240A34C}"/>
          </ac:spMkLst>
        </pc:spChg>
        <pc:spChg chg="mod ord">
          <ac:chgData name="Jorge Costa" userId="6f0ed375-7d90-4a84-93f2-03ffaae48f30" providerId="ADAL" clId="{03E48706-ED28-4E40-9B7D-8C36692CE558}" dt="2023-10-04T12:08:09.780" v="100910"/>
          <ac:spMkLst>
            <pc:docMk/>
            <pc:sldMk cId="2915508219" sldId="2147375778"/>
            <ac:spMk id="283" creationId="{17017461-1885-A70A-F2AC-C9FEB70C9697}"/>
          </ac:spMkLst>
        </pc:spChg>
        <pc:spChg chg="mod">
          <ac:chgData name="Jorge Costa" userId="6f0ed375-7d90-4a84-93f2-03ffaae48f30" providerId="ADAL" clId="{03E48706-ED28-4E40-9B7D-8C36692CE558}" dt="2023-10-04T12:10:47.276" v="101089"/>
          <ac:spMkLst>
            <pc:docMk/>
            <pc:sldMk cId="2915508219" sldId="2147375778"/>
            <ac:spMk id="284" creationId="{284ED816-B76D-23E9-F410-1F799528A789}"/>
          </ac:spMkLst>
        </pc:spChg>
        <pc:spChg chg="mod ord">
          <ac:chgData name="Jorge Costa" userId="6f0ed375-7d90-4a84-93f2-03ffaae48f30" providerId="ADAL" clId="{03E48706-ED28-4E40-9B7D-8C36692CE558}" dt="2023-10-04T11:58:01.435" v="100495"/>
          <ac:spMkLst>
            <pc:docMk/>
            <pc:sldMk cId="2915508219" sldId="2147375778"/>
            <ac:spMk id="288" creationId="{88D78AEC-4B4B-59E6-E1DB-74ACC5F70BEC}"/>
          </ac:spMkLst>
        </pc:spChg>
        <pc:spChg chg="mod ord">
          <ac:chgData name="Jorge Costa" userId="6f0ed375-7d90-4a84-93f2-03ffaae48f30" providerId="ADAL" clId="{03E48706-ED28-4E40-9B7D-8C36692CE558}" dt="2023-10-04T11:58:01.430" v="100489"/>
          <ac:spMkLst>
            <pc:docMk/>
            <pc:sldMk cId="2915508219" sldId="2147375778"/>
            <ac:spMk id="291" creationId="{038F05B0-9F59-3A1B-E166-81F26F5C9795}"/>
          </ac:spMkLst>
        </pc:spChg>
        <pc:spChg chg="mod ord">
          <ac:chgData name="Jorge Costa" userId="6f0ed375-7d90-4a84-93f2-03ffaae48f30" providerId="ADAL" clId="{03E48706-ED28-4E40-9B7D-8C36692CE558}" dt="2023-10-04T11:58:01.432" v="100491"/>
          <ac:spMkLst>
            <pc:docMk/>
            <pc:sldMk cId="2915508219" sldId="2147375778"/>
            <ac:spMk id="292" creationId="{D6F1F7DA-A6E0-0268-167F-E51436593FFF}"/>
          </ac:spMkLst>
        </pc:spChg>
        <pc:spChg chg="mod ord">
          <ac:chgData name="Jorge Costa" userId="6f0ed375-7d90-4a84-93f2-03ffaae48f30" providerId="ADAL" clId="{03E48706-ED28-4E40-9B7D-8C36692CE558}" dt="2023-10-04T11:58:01.434" v="100493"/>
          <ac:spMkLst>
            <pc:docMk/>
            <pc:sldMk cId="2915508219" sldId="2147375778"/>
            <ac:spMk id="294" creationId="{F1109825-6362-5F46-4C95-2D7D78B06AD6}"/>
          </ac:spMkLst>
        </pc:spChg>
        <pc:spChg chg="mod ord">
          <ac:chgData name="Jorge Costa" userId="6f0ed375-7d90-4a84-93f2-03ffaae48f30" providerId="ADAL" clId="{03E48706-ED28-4E40-9B7D-8C36692CE558}" dt="2023-10-04T11:58:01.438" v="100497"/>
          <ac:spMkLst>
            <pc:docMk/>
            <pc:sldMk cId="2915508219" sldId="2147375778"/>
            <ac:spMk id="295" creationId="{DA4B9A6F-E844-ED58-A7C7-7ED7102C7EB3}"/>
          </ac:spMkLst>
        </pc:spChg>
        <pc:graphicFrameChg chg="mod">
          <ac:chgData name="Jorge Costa" userId="6f0ed375-7d90-4a84-93f2-03ffaae48f30" providerId="ADAL" clId="{03E48706-ED28-4E40-9B7D-8C36692CE558}" dt="2023-10-04T12:10:47.344" v="101125"/>
          <ac:graphicFrameMkLst>
            <pc:docMk/>
            <pc:sldMk cId="2915508219" sldId="2147375778"/>
            <ac:graphicFrameMk id="6" creationId="{63A4715E-B7F9-BA75-94AB-B57C471D4624}"/>
          </ac:graphicFrameMkLst>
        </pc:graphicFrameChg>
        <pc:cxnChg chg="del">
          <ac:chgData name="Jorge Costa" userId="6f0ed375-7d90-4a84-93f2-03ffaae48f30" providerId="ADAL" clId="{03E48706-ED28-4E40-9B7D-8C36692CE558}" dt="2023-10-04T11:58:01.348" v="100401"/>
          <ac:cxnSpMkLst>
            <pc:docMk/>
            <pc:sldMk cId="2915508219" sldId="2147375778"/>
            <ac:cxnSpMk id="5" creationId="{EB92B2A2-3FDA-F548-ED18-A7CFB80D07EB}"/>
          </ac:cxnSpMkLst>
        </pc:cxnChg>
        <pc:cxnChg chg="add mod ord replST">
          <ac:chgData name="Jorge Costa" userId="6f0ed375-7d90-4a84-93f2-03ffaae48f30" providerId="ADAL" clId="{03E48706-ED28-4E40-9B7D-8C36692CE558}" dt="2023-10-04T11:58:01.384" v="100434"/>
          <ac:cxnSpMkLst>
            <pc:docMk/>
            <pc:sldMk cId="2915508219" sldId="2147375778"/>
            <ac:cxnSpMk id="7" creationId="{B8F7C0F2-073C-D94B-02ED-37BB9CED9F3C}"/>
          </ac:cxnSpMkLst>
        </pc:cxnChg>
        <pc:cxnChg chg="add mod ord replST">
          <ac:chgData name="Jorge Costa" userId="6f0ed375-7d90-4a84-93f2-03ffaae48f30" providerId="ADAL" clId="{03E48706-ED28-4E40-9B7D-8C36692CE558}" dt="2023-10-04T11:58:01.386" v="100436"/>
          <ac:cxnSpMkLst>
            <pc:docMk/>
            <pc:sldMk cId="2915508219" sldId="2147375778"/>
            <ac:cxnSpMk id="8" creationId="{4283CF68-A947-E6FA-0E22-DE1CBB4CD509}"/>
          </ac:cxnSpMkLst>
        </pc:cxnChg>
        <pc:cxnChg chg="mod ord">
          <ac:chgData name="Jorge Costa" userId="6f0ed375-7d90-4a84-93f2-03ffaae48f30" providerId="ADAL" clId="{03E48706-ED28-4E40-9B7D-8C36692CE558}" dt="2023-10-04T11:58:01.381" v="100430"/>
          <ac:cxnSpMkLst>
            <pc:docMk/>
            <pc:sldMk cId="2915508219" sldId="2147375778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10-04T11:58:01.383" v="100432"/>
          <ac:cxnSpMkLst>
            <pc:docMk/>
            <pc:sldMk cId="2915508219" sldId="2147375778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10-04T11:58:01.379" v="100428"/>
          <ac:cxnSpMkLst>
            <pc:docMk/>
            <pc:sldMk cId="2915508219" sldId="2147375778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10-04T11:58:01.392" v="100442"/>
          <ac:cxnSpMkLst>
            <pc:docMk/>
            <pc:sldMk cId="2915508219" sldId="2147375778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10-04T11:58:01.391" v="100440"/>
          <ac:cxnSpMkLst>
            <pc:docMk/>
            <pc:sldMk cId="2915508219" sldId="2147375778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10-04T11:58:01.378" v="100426"/>
          <ac:cxnSpMkLst>
            <pc:docMk/>
            <pc:sldMk cId="2915508219" sldId="2147375778"/>
            <ac:cxnSpMk id="43" creationId="{AF42AE0D-0743-992B-260A-1B6BE271DEE7}"/>
          </ac:cxnSpMkLst>
        </pc:cxnChg>
        <pc:cxnChg chg="del">
          <ac:chgData name="Jorge Costa" userId="6f0ed375-7d90-4a84-93f2-03ffaae48f30" providerId="ADAL" clId="{03E48706-ED28-4E40-9B7D-8C36692CE558}" dt="2023-10-04T11:58:01.311" v="100385"/>
          <ac:cxnSpMkLst>
            <pc:docMk/>
            <pc:sldMk cId="2915508219" sldId="2147375778"/>
            <ac:cxnSpMk id="50" creationId="{DC487231-5187-6D2F-3E79-9AA7DA3000AE}"/>
          </ac:cxnSpMkLst>
        </pc:cxnChg>
        <pc:cxnChg chg="mod ord">
          <ac:chgData name="Jorge Costa" userId="6f0ed375-7d90-4a84-93f2-03ffaae48f30" providerId="ADAL" clId="{03E48706-ED28-4E40-9B7D-8C36692CE558}" dt="2023-10-04T11:58:01.373" v="100422"/>
          <ac:cxnSpMkLst>
            <pc:docMk/>
            <pc:sldMk cId="2915508219" sldId="2147375778"/>
            <ac:cxnSpMk id="53" creationId="{FDDA2859-AE28-97E3-C1DF-629C79C7BD24}"/>
          </ac:cxnSpMkLst>
        </pc:cxnChg>
        <pc:cxnChg chg="mod ord">
          <ac:chgData name="Jorge Costa" userId="6f0ed375-7d90-4a84-93f2-03ffaae48f30" providerId="ADAL" clId="{03E48706-ED28-4E40-9B7D-8C36692CE558}" dt="2023-10-04T11:58:01.389" v="100438"/>
          <ac:cxnSpMkLst>
            <pc:docMk/>
            <pc:sldMk cId="2915508219" sldId="2147375778"/>
            <ac:cxnSpMk id="59" creationId="{7E550420-EC2D-84CA-9920-CA4E94EE21AD}"/>
          </ac:cxnSpMkLst>
        </pc:cxnChg>
        <pc:cxnChg chg="mod ord">
          <ac:chgData name="Jorge Costa" userId="6f0ed375-7d90-4a84-93f2-03ffaae48f30" providerId="ADAL" clId="{03E48706-ED28-4E40-9B7D-8C36692CE558}" dt="2023-10-04T11:58:01.376" v="100424"/>
          <ac:cxnSpMkLst>
            <pc:docMk/>
            <pc:sldMk cId="2915508219" sldId="2147375778"/>
            <ac:cxnSpMk id="60" creationId="{E24DC149-9275-CA56-07B3-C3B4368F9FAA}"/>
          </ac:cxnSpMkLst>
        </pc:cxnChg>
        <pc:cxnChg chg="mod ord">
          <ac:chgData name="Jorge Costa" userId="6f0ed375-7d90-4a84-93f2-03ffaae48f30" providerId="ADAL" clId="{03E48706-ED28-4E40-9B7D-8C36692CE558}" dt="2023-10-04T11:58:01.394" v="100446"/>
          <ac:cxnSpMkLst>
            <pc:docMk/>
            <pc:sldMk cId="2915508219" sldId="2147375778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10-04T11:58:01.395" v="100448"/>
          <ac:cxnSpMkLst>
            <pc:docMk/>
            <pc:sldMk cId="2915508219" sldId="2147375778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10-04T11:58:01.393" v="100444"/>
          <ac:cxnSpMkLst>
            <pc:docMk/>
            <pc:sldMk cId="2915508219" sldId="2147375778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10-04T11:58:01.396" v="100450"/>
          <ac:cxnSpMkLst>
            <pc:docMk/>
            <pc:sldMk cId="2915508219" sldId="2147375778"/>
            <ac:cxnSpMk id="67" creationId="{659848EF-7FEF-63B8-07E4-FFDCFA186EED}"/>
          </ac:cxnSpMkLst>
        </pc:cxnChg>
        <pc:cxnChg chg="mod ord">
          <ac:chgData name="Jorge Costa" userId="6f0ed375-7d90-4a84-93f2-03ffaae48f30" providerId="ADAL" clId="{03E48706-ED28-4E40-9B7D-8C36692CE558}" dt="2023-10-04T11:58:01.405" v="100458"/>
          <ac:cxnSpMkLst>
            <pc:docMk/>
            <pc:sldMk cId="2915508219" sldId="2147375778"/>
            <ac:cxnSpMk id="70" creationId="{A0D52725-A9A9-80D8-1CA3-EE7655755914}"/>
          </ac:cxnSpMkLst>
        </pc:cxnChg>
        <pc:cxnChg chg="mod ord">
          <ac:chgData name="Jorge Costa" userId="6f0ed375-7d90-4a84-93f2-03ffaae48f30" providerId="ADAL" clId="{03E48706-ED28-4E40-9B7D-8C36692CE558}" dt="2023-10-04T11:58:01.406" v="100460"/>
          <ac:cxnSpMkLst>
            <pc:docMk/>
            <pc:sldMk cId="2915508219" sldId="2147375778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10-04T11:58:01.408" v="100462"/>
          <ac:cxnSpMkLst>
            <pc:docMk/>
            <pc:sldMk cId="2915508219" sldId="2147375778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10-04T11:58:01.409" v="100464"/>
          <ac:cxnSpMkLst>
            <pc:docMk/>
            <pc:sldMk cId="2915508219" sldId="2147375778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10-04T11:58:01.449" v="100509"/>
          <ac:cxnSpMkLst>
            <pc:docMk/>
            <pc:sldMk cId="2915508219" sldId="2147375778"/>
            <ac:cxnSpMk id="104" creationId="{16C09043-B53A-B25A-9CB0-26205C63905B}"/>
          </ac:cxnSpMkLst>
        </pc:cxnChg>
        <pc:cxnChg chg="mod ord">
          <ac:chgData name="Jorge Costa" userId="6f0ed375-7d90-4a84-93f2-03ffaae48f30" providerId="ADAL" clId="{03E48706-ED28-4E40-9B7D-8C36692CE558}" dt="2023-10-04T11:58:01.402" v="100454"/>
          <ac:cxnSpMkLst>
            <pc:docMk/>
            <pc:sldMk cId="2915508219" sldId="2147375778"/>
            <ac:cxnSpMk id="221" creationId="{6A3544F9-FD8F-A97C-E4E2-4A96ACC8B185}"/>
          </ac:cxnSpMkLst>
        </pc:cxnChg>
        <pc:cxnChg chg="mod ord">
          <ac:chgData name="Jorge Costa" userId="6f0ed375-7d90-4a84-93f2-03ffaae48f30" providerId="ADAL" clId="{03E48706-ED28-4E40-9B7D-8C36692CE558}" dt="2023-10-04T11:58:01.400" v="100452"/>
          <ac:cxnSpMkLst>
            <pc:docMk/>
            <pc:sldMk cId="2915508219" sldId="2147375778"/>
            <ac:cxnSpMk id="230" creationId="{BE5ACD7C-3CEB-4780-4072-2307C76BA23A}"/>
          </ac:cxnSpMkLst>
        </pc:cxnChg>
        <pc:cxnChg chg="mod ord">
          <ac:chgData name="Jorge Costa" userId="6f0ed375-7d90-4a84-93f2-03ffaae48f30" providerId="ADAL" clId="{03E48706-ED28-4E40-9B7D-8C36692CE558}" dt="2023-10-04T11:58:01.404" v="100456"/>
          <ac:cxnSpMkLst>
            <pc:docMk/>
            <pc:sldMk cId="2915508219" sldId="2147375778"/>
            <ac:cxnSpMk id="236" creationId="{24FC3315-C82B-FBD3-89A8-42C66FC222F0}"/>
          </ac:cxnSpMkLst>
        </pc:cxnChg>
      </pc:sldChg>
      <pc:sldMasterChg chg="delSldLayout">
        <pc:chgData name="Jorge Costa" userId="6f0ed375-7d90-4a84-93f2-03ffaae48f30" providerId="ADAL" clId="{03E48706-ED28-4E40-9B7D-8C36692CE558}" dt="2023-09-20T12:47:18.030" v="13064" actId="47"/>
        <pc:sldMasterMkLst>
          <pc:docMk/>
          <pc:sldMasterMk cId="2563791362" sldId="2147483648"/>
        </pc:sldMasterMkLst>
        <pc:sldLayoutChg chg="del">
          <pc:chgData name="Jorge Costa" userId="6f0ed375-7d90-4a84-93f2-03ffaae48f30" providerId="ADAL" clId="{03E48706-ED28-4E40-9B7D-8C36692CE558}" dt="2023-09-20T12:47:18.030" v="13064" actId="47"/>
          <pc:sldLayoutMkLst>
            <pc:docMk/>
            <pc:sldMasterMk cId="2563791362" sldId="2147483648"/>
            <pc:sldLayoutMk cId="206781375" sldId="2147483676"/>
          </pc:sldLayoutMkLst>
        </pc:sldLayoutChg>
      </pc:sldMasterChg>
    </pc:docChg>
  </pc:docChgLst>
  <pc:docChgLst>
    <pc:chgData name="Stephan Kuche" userId="02f15082-7848-48ac-830f-3af9db319dee" providerId="ADAL" clId="{F4A40BAB-1284-2C4A-AC33-4957407F9D6E}"/>
    <pc:docChg chg="delSld modSection">
      <pc:chgData name="Stephan Kuche" userId="02f15082-7848-48ac-830f-3af9db319dee" providerId="ADAL" clId="{F4A40BAB-1284-2C4A-AC33-4957407F9D6E}" dt="2023-10-13T04:37:50.482" v="2" actId="2696"/>
      <pc:docMkLst>
        <pc:docMk/>
      </pc:docMkLst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964595047" sldId="32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369949412" sldId="33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24380779" sldId="33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80982594" sldId="33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67479729" sldId="34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228895830" sldId="34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367627521" sldId="34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197332898" sldId="34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552574119" sldId="344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21738271" sldId="34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872971203" sldId="34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628297946" sldId="34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113823637" sldId="34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745436189" sldId="34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863375442" sldId="35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043801944" sldId="35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19089568" sldId="35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60951626" sldId="35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55730496" sldId="35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890900473" sldId="35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85727364" sldId="36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938444334" sldId="36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511056932" sldId="38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797995155" sldId="214737572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569141150" sldId="214737572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297959170" sldId="214737572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126124101" sldId="214737572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08278707" sldId="214737573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02497964" sldId="214737573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688973268" sldId="214737573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18536131" sldId="214737573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63484890" sldId="2147375734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700934094" sldId="214737573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63879284" sldId="2147375736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4160796942" sldId="214737573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237132561" sldId="214737574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079069808" sldId="214737575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53336687" sldId="214737575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13280450" sldId="2147375755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2522140520" sldId="2147375758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957411113" sldId="2147375759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668715625" sldId="2147375760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2881901733" sldId="2147375762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402242140" sldId="2147375763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595199535" sldId="2147375764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4220431729" sldId="2147375765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721826899" sldId="2147375766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956892214" sldId="2147375767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466692153" sldId="2147375769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543446496" sldId="2147375771"/>
        </pc:sldMkLst>
      </pc:sldChg>
      <pc:sldChg chg="del">
        <pc:chgData name="Stephan Kuche" userId="02f15082-7848-48ac-830f-3af9db319dee" providerId="ADAL" clId="{F4A40BAB-1284-2C4A-AC33-4957407F9D6E}" dt="2023-10-13T04:37:43.604" v="1" actId="2696"/>
        <pc:sldMkLst>
          <pc:docMk/>
          <pc:sldMk cId="1905667050" sldId="214737577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3/3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3. 03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3. 03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3. 03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63" Type="http://schemas.openxmlformats.org/officeDocument/2006/relationships/tags" Target="../tags/tag65.xml"/><Relationship Id="rId84" Type="http://schemas.openxmlformats.org/officeDocument/2006/relationships/tags" Target="../tags/tag86.xml"/><Relationship Id="rId16" Type="http://schemas.openxmlformats.org/officeDocument/2006/relationships/tags" Target="../tags/tag18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28" Type="http://schemas.openxmlformats.org/officeDocument/2006/relationships/tags" Target="../tags/tag130.xml"/><Relationship Id="rId5" Type="http://schemas.openxmlformats.org/officeDocument/2006/relationships/tags" Target="../tags/tag7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18" Type="http://schemas.openxmlformats.org/officeDocument/2006/relationships/tags" Target="../tags/tag120.xml"/><Relationship Id="rId134" Type="http://schemas.openxmlformats.org/officeDocument/2006/relationships/oleObject" Target="../embeddings/oleObject2.bin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08" Type="http://schemas.openxmlformats.org/officeDocument/2006/relationships/tags" Target="../tags/tag110.xml"/><Relationship Id="rId124" Type="http://schemas.openxmlformats.org/officeDocument/2006/relationships/tags" Target="../tags/tag126.xml"/><Relationship Id="rId129" Type="http://schemas.openxmlformats.org/officeDocument/2006/relationships/tags" Target="../tags/tag131.xml"/><Relationship Id="rId54" Type="http://schemas.openxmlformats.org/officeDocument/2006/relationships/tags" Target="../tags/tag56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119" Type="http://schemas.openxmlformats.org/officeDocument/2006/relationships/tags" Target="../tags/tag121.xml"/><Relationship Id="rId44" Type="http://schemas.openxmlformats.org/officeDocument/2006/relationships/tags" Target="../tags/tag46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130" Type="http://schemas.openxmlformats.org/officeDocument/2006/relationships/tags" Target="../tags/tag132.xml"/><Relationship Id="rId135" Type="http://schemas.openxmlformats.org/officeDocument/2006/relationships/image" Target="../media/image6.emf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tags" Target="../tags/tag11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120" Type="http://schemas.openxmlformats.org/officeDocument/2006/relationships/tags" Target="../tags/tag122.xml"/><Relationship Id="rId125" Type="http://schemas.openxmlformats.org/officeDocument/2006/relationships/tags" Target="../tags/tag127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15" Type="http://schemas.openxmlformats.org/officeDocument/2006/relationships/tags" Target="../tags/tag117.xml"/><Relationship Id="rId131" Type="http://schemas.openxmlformats.org/officeDocument/2006/relationships/tags" Target="../tags/tag133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3" Type="http://schemas.openxmlformats.org/officeDocument/2006/relationships/tags" Target="../tags/tag5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116" Type="http://schemas.openxmlformats.org/officeDocument/2006/relationships/tags" Target="../tags/tag118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32" Type="http://schemas.openxmlformats.org/officeDocument/2006/relationships/tags" Target="../tags/tag134.xml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26" Type="http://schemas.openxmlformats.org/officeDocument/2006/relationships/tags" Target="../tags/tag28.xml"/><Relationship Id="rId47" Type="http://schemas.openxmlformats.org/officeDocument/2006/relationships/tags" Target="../tags/tag49.xml"/><Relationship Id="rId68" Type="http://schemas.openxmlformats.org/officeDocument/2006/relationships/tags" Target="../tags/tag70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33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A4715E-B7F9-BA75-94AB-B57C471D4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636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4" imgW="395" imgH="394" progId="TCLayout.ActiveDocument.1">
                  <p:embed/>
                </p:oleObj>
              </mc:Choice>
              <mc:Fallback>
                <p:oleObj name="think-cell Slide" r:id="rId13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A4715E-B7F9-BA75-94AB-B57C471D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A1669AA9-9371-B720-CA3A-15BF499E5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sting Timeline – To be confirmed by WILH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6B112D9-9E4A-0DDF-DF01-494C86A59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1</a:t>
            </a:fld>
            <a:endParaRPr lang="en-US"/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F131440F-02C5-68E7-D763-68D844A9F18E}"/>
              </a:ext>
            </a:extLst>
          </p:cNvPr>
          <p:cNvSpPr txBox="1"/>
          <p:nvPr/>
        </p:nvSpPr>
        <p:spPr>
          <a:xfrm>
            <a:off x="3529600" y="6360258"/>
            <a:ext cx="6831425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Timeline subject to change – Assuming Testing &amp; Bug fixing will be done in parallel (</a:t>
            </a:r>
            <a:r>
              <a:rPr lang="en-GB" sz="800" dirty="0" err="1">
                <a:solidFill>
                  <a:srgbClr val="000000"/>
                </a:solidFill>
                <a:latin typeface="Lato"/>
                <a:ea typeface="Lato"/>
                <a:cs typeface="Lato"/>
              </a:rPr>
              <a:t>KanBan</a:t>
            </a: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 approach)</a:t>
            </a:r>
            <a:endParaRPr lang="en-GB" sz="800" dirty="0">
              <a:latin typeface="Lato"/>
              <a:ea typeface="Lato"/>
              <a:cs typeface="Lato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D548A3-47C4-BA95-1B26-DA6668F53161}"/>
              </a:ext>
            </a:extLst>
          </p:cNvPr>
          <p:cNvSpPr/>
          <p:nvPr/>
        </p:nvSpPr>
        <p:spPr>
          <a:xfrm rot="2746554">
            <a:off x="483614" y="5880324"/>
            <a:ext cx="82778" cy="82778"/>
          </a:xfrm>
          <a:prstGeom prst="rect">
            <a:avLst/>
          </a:prstGeom>
          <a:solidFill>
            <a:srgbClr val="43C7A1"/>
          </a:solidFill>
          <a:ln>
            <a:solidFill>
              <a:srgbClr val="AEE7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0F50FE-910E-100C-2ED3-D741EC398416}"/>
              </a:ext>
            </a:extLst>
          </p:cNvPr>
          <p:cNvSpPr txBox="1"/>
          <p:nvPr/>
        </p:nvSpPr>
        <p:spPr>
          <a:xfrm>
            <a:off x="539505" y="5801291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HL Deliverab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3C54AA-70A9-C28E-DDCE-9FA6F9B982D5}"/>
              </a:ext>
            </a:extLst>
          </p:cNvPr>
          <p:cNvSpPr/>
          <p:nvPr/>
        </p:nvSpPr>
        <p:spPr>
          <a:xfrm rot="2746554">
            <a:off x="483614" y="6040715"/>
            <a:ext cx="82778" cy="82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A14BB6-630A-6EA5-EDE1-5FDBD5A119AD}"/>
              </a:ext>
            </a:extLst>
          </p:cNvPr>
          <p:cNvSpPr txBox="1"/>
          <p:nvPr/>
        </p:nvSpPr>
        <p:spPr>
          <a:xfrm>
            <a:off x="539505" y="5974382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atos Deliverab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0937AE-D77D-2301-82CC-4FEDDE959D28}"/>
              </a:ext>
            </a:extLst>
          </p:cNvPr>
          <p:cNvSpPr txBox="1"/>
          <p:nvPr/>
        </p:nvSpPr>
        <p:spPr>
          <a:xfrm>
            <a:off x="539505" y="5633025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teerCo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Meeting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C7BE119C-D6B5-ACD1-6D46-163A2406E415}"/>
              </a:ext>
            </a:extLst>
          </p:cNvPr>
          <p:cNvSpPr/>
          <p:nvPr/>
        </p:nvSpPr>
        <p:spPr>
          <a:xfrm>
            <a:off x="476080" y="5529570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F8A812D-0C52-07DA-6856-058296E1F7A8}"/>
              </a:ext>
            </a:extLst>
          </p:cNvPr>
          <p:cNvSpPr txBox="1"/>
          <p:nvPr/>
        </p:nvSpPr>
        <p:spPr>
          <a:xfrm>
            <a:off x="539505" y="5470771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Mileston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AB766B7-0E6C-C687-E570-C05ECF362FE6}"/>
              </a:ext>
            </a:extLst>
          </p:cNvPr>
          <p:cNvSpPr/>
          <p:nvPr/>
        </p:nvSpPr>
        <p:spPr>
          <a:xfrm rot="2746554">
            <a:off x="478661" y="5704133"/>
            <a:ext cx="82778" cy="8277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Szöveg helye 2">
            <a:extLst>
              <a:ext uri="{FF2B5EF4-FFF2-40B4-BE49-F238E27FC236}">
                <a16:creationId xmlns:a16="http://schemas.microsoft.com/office/drawing/2014/main" id="{7376E9EA-F0C5-86BC-4AA5-748FD7E3B97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3292474" y="1119188"/>
            <a:ext cx="18875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06D3AE-0BDF-433F-B1D8-104E432FF95B}" type="datetime'O''''''''''''''''''''''''''''''c''''''''''''t'">
              <a:rPr lang="en-GB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en-GB" sz="1400" b="1" dirty="0"/>
          </a:p>
        </p:txBody>
      </p:sp>
      <p:sp>
        <p:nvSpPr>
          <p:cNvPr id="78" name="Szöveg helye 2">
            <a:extLst>
              <a:ext uri="{FF2B5EF4-FFF2-40B4-BE49-F238E27FC236}">
                <a16:creationId xmlns:a16="http://schemas.microsoft.com/office/drawing/2014/main" id="{8716372D-8622-AB6C-8124-1E49A6FCFBA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180013" y="1119188"/>
            <a:ext cx="1825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D00893-C908-4088-853B-E8DADF2F507F}" type="datetime'''''''''''''''''N''''''''''''''''o''''''''''v'''''''''''''''''">
              <a:rPr lang="en-GB" altLang="en-US" sz="1400" b="1" smtClean="0"/>
              <a:pPr/>
              <a:t>Nov</a:t>
            </a:fld>
            <a:endParaRPr lang="en-GB" sz="1400" b="1" dirty="0"/>
          </a:p>
        </p:txBody>
      </p:sp>
      <p:sp>
        <p:nvSpPr>
          <p:cNvPr id="79" name="Szöveg helye 2">
            <a:extLst>
              <a:ext uri="{FF2B5EF4-FFF2-40B4-BE49-F238E27FC236}">
                <a16:creationId xmlns:a16="http://schemas.microsoft.com/office/drawing/2014/main" id="{E854D1DB-006A-0DCB-2BD3-619271AC394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7005637" y="1119188"/>
            <a:ext cx="18875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E82F40-0C54-43B7-80B4-1C7CD747BF13}" type="datetime'''''''''''''''''''''''''''D''''''''e''''''''''''''''''c'''''''">
              <a:rPr lang="en-GB" altLang="en-US" sz="1400" b="1" smtClean="0"/>
              <a:pPr/>
              <a:t>Dec</a:t>
            </a:fld>
            <a:endParaRPr lang="en-GB" sz="1400" b="1" dirty="0"/>
          </a:p>
        </p:txBody>
      </p:sp>
      <p:sp>
        <p:nvSpPr>
          <p:cNvPr id="343" name="Szöveg helye 2">
            <a:extLst>
              <a:ext uri="{FF2B5EF4-FFF2-40B4-BE49-F238E27FC236}">
                <a16:creationId xmlns:a16="http://schemas.microsoft.com/office/drawing/2014/main" id="{3763A951-248D-ECF7-7DB5-C1B83328FE4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8893175" y="1119188"/>
            <a:ext cx="1825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F57B7D-B602-41CD-A4B0-E969FA4C98CA}" type="datetime'''''''''''''''''''''''''''''''''''''''''''J''''''''''an'''">
              <a:rPr lang="en-GB" altLang="en-US" sz="1400" b="1" smtClean="0"/>
              <a:pPr/>
              <a:t>Jan</a:t>
            </a:fld>
            <a:endParaRPr lang="en-GB" sz="1400" b="1" dirty="0"/>
          </a:p>
        </p:txBody>
      </p:sp>
      <p:sp>
        <p:nvSpPr>
          <p:cNvPr id="50" name="Szöveg helye 2">
            <a:extLst>
              <a:ext uri="{FF2B5EF4-FFF2-40B4-BE49-F238E27FC236}">
                <a16:creationId xmlns:a16="http://schemas.microsoft.com/office/drawing/2014/main" id="{6B9C420D-0FAA-85F7-2261-0CC5A41529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292475" y="1465263"/>
            <a:ext cx="603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1400" b="1" dirty="0"/>
          </a:p>
        </p:txBody>
      </p:sp>
      <p:sp>
        <p:nvSpPr>
          <p:cNvPr id="51" name="Szöveg helye 2">
            <a:extLst>
              <a:ext uri="{FF2B5EF4-FFF2-40B4-BE49-F238E27FC236}">
                <a16:creationId xmlns:a16="http://schemas.microsoft.com/office/drawing/2014/main" id="{ABFE08CA-88A3-870D-8C3C-DFF6189B7DD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3352800" y="1465263"/>
            <a:ext cx="427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15781C-B53D-4F94-96BB-D1855726A6FB}" type="datetime'''''''''''''''''''''''''''''''''''''''''''4''0'''''''">
              <a:rPr lang="en-GB" altLang="en-US" sz="1400" b="1" smtClean="0"/>
              <a:pPr/>
              <a:t>40</a:t>
            </a:fld>
            <a:endParaRPr lang="en-GB" sz="1400" b="1" dirty="0"/>
          </a:p>
        </p:txBody>
      </p:sp>
      <p:sp>
        <p:nvSpPr>
          <p:cNvPr id="54" name="Szöveg helye 2">
            <a:extLst>
              <a:ext uri="{FF2B5EF4-FFF2-40B4-BE49-F238E27FC236}">
                <a16:creationId xmlns:a16="http://schemas.microsoft.com/office/drawing/2014/main" id="{F99F0A18-3E66-B9BE-944C-DF68BEA29C8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3779837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1B9C03-13F9-4684-8EA2-CA267FFCF43A}" type="datetime'''''''''''''4''''''''''''''1'''''">
              <a:rPr lang="en-GB" altLang="en-US" sz="1400" b="1" smtClean="0"/>
              <a:pPr/>
              <a:t>41</a:t>
            </a:fld>
            <a:endParaRPr lang="en-GB" sz="1400" b="1" dirty="0"/>
          </a:p>
        </p:txBody>
      </p:sp>
      <p:sp>
        <p:nvSpPr>
          <p:cNvPr id="55" name="Szöveg helye 2">
            <a:extLst>
              <a:ext uri="{FF2B5EF4-FFF2-40B4-BE49-F238E27FC236}">
                <a16:creationId xmlns:a16="http://schemas.microsoft.com/office/drawing/2014/main" id="{B75CF91D-D333-FE6B-D6F9-24096C4CE0A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205288" y="1465263"/>
            <a:ext cx="427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C7D3C0-9E86-475B-89FD-95B094C1429E}" type="datetime'''''''''''''''4''''''''''''2'''''''''''''''''">
              <a:rPr lang="en-GB" altLang="en-US" sz="1400" b="1" smtClean="0"/>
              <a:pPr/>
              <a:t>42</a:t>
            </a:fld>
            <a:endParaRPr lang="en-GB" sz="1400" b="1" dirty="0"/>
          </a:p>
        </p:txBody>
      </p:sp>
      <p:sp>
        <p:nvSpPr>
          <p:cNvPr id="56" name="Szöveg helye 2">
            <a:extLst>
              <a:ext uri="{FF2B5EF4-FFF2-40B4-BE49-F238E27FC236}">
                <a16:creationId xmlns:a16="http://schemas.microsoft.com/office/drawing/2014/main" id="{8A98F858-F540-E71B-A9E9-145CAB4479A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632325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C5EE9B-362E-40D5-92C1-11891CAB56B3}" type="datetime'''''''''''''''''''''''''''4''''3'''''''''''''''''''''''''''">
              <a:rPr lang="en-GB" altLang="en-US" sz="1400" b="1" smtClean="0"/>
              <a:pPr/>
              <a:t>43</a:t>
            </a:fld>
            <a:endParaRPr lang="en-GB" sz="1400" b="1" dirty="0"/>
          </a:p>
        </p:txBody>
      </p:sp>
      <p:sp>
        <p:nvSpPr>
          <p:cNvPr id="57" name="Szöveg helye 2">
            <a:extLst>
              <a:ext uri="{FF2B5EF4-FFF2-40B4-BE49-F238E27FC236}">
                <a16:creationId xmlns:a16="http://schemas.microsoft.com/office/drawing/2014/main" id="{85E4C5A9-478B-D204-7F61-1B833687BF56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057775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7D66C3-B67D-40D6-A2A0-E5BF093ACA2A}" type="datetime'''''''''''''''''''''4''''''4'''''''''''''''''''">
              <a:rPr lang="en-GB" altLang="en-US" sz="1400" b="1" smtClean="0"/>
              <a:pPr/>
              <a:t>44</a:t>
            </a:fld>
            <a:endParaRPr lang="en-GB" sz="1400" b="1" dirty="0"/>
          </a:p>
        </p:txBody>
      </p:sp>
      <p:sp>
        <p:nvSpPr>
          <p:cNvPr id="58" name="Szöveg helye 2">
            <a:extLst>
              <a:ext uri="{FF2B5EF4-FFF2-40B4-BE49-F238E27FC236}">
                <a16:creationId xmlns:a16="http://schemas.microsoft.com/office/drawing/2014/main" id="{7ECCBEE8-63BB-FAC8-AE04-501C7BC89743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483224" y="1465263"/>
            <a:ext cx="427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24ADB1-4C5C-44F2-AC48-ED0FBF73CD61}" type="datetime'''''''''''''''''''''45'">
              <a:rPr lang="en-GB" altLang="en-US" sz="1400" b="1" smtClean="0"/>
              <a:pPr/>
              <a:t>45</a:t>
            </a:fld>
            <a:endParaRPr lang="en-GB" sz="1400" b="1" dirty="0"/>
          </a:p>
        </p:txBody>
      </p:sp>
      <p:sp>
        <p:nvSpPr>
          <p:cNvPr id="61" name="Szöveg helye 2">
            <a:extLst>
              <a:ext uri="{FF2B5EF4-FFF2-40B4-BE49-F238E27FC236}">
                <a16:creationId xmlns:a16="http://schemas.microsoft.com/office/drawing/2014/main" id="{BE2245A9-6CE0-EA4B-75EE-C9F3A2DAE947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910263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A85BFB-F329-4BC8-9F82-9A3E79ED6B3A}" type="datetime'4''''''''6'''''''''''''''''''''''''''''''''''''''''">
              <a:rPr lang="en-GB" altLang="en-US" sz="1400" b="1" smtClean="0"/>
              <a:pPr/>
              <a:t>46</a:t>
            </a:fld>
            <a:endParaRPr lang="en-GB" sz="1400" b="1" dirty="0"/>
          </a:p>
        </p:txBody>
      </p:sp>
      <p:sp>
        <p:nvSpPr>
          <p:cNvPr id="62" name="Szöveg helye 2">
            <a:extLst>
              <a:ext uri="{FF2B5EF4-FFF2-40B4-BE49-F238E27FC236}">
                <a16:creationId xmlns:a16="http://schemas.microsoft.com/office/drawing/2014/main" id="{73E3BF36-3CD9-BF09-E42B-6DB0A6B9D02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335713" y="1465263"/>
            <a:ext cx="427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968BDA-CF70-4869-A8C9-434D3F7D845C}" type="datetime'4''''''''''''''''''''''''7'''''''''">
              <a:rPr lang="en-GB" altLang="en-US" sz="1400" b="1" smtClean="0"/>
              <a:pPr/>
              <a:t>47</a:t>
            </a:fld>
            <a:endParaRPr lang="en-GB" sz="1400" b="1" dirty="0"/>
          </a:p>
        </p:txBody>
      </p:sp>
      <p:sp>
        <p:nvSpPr>
          <p:cNvPr id="63" name="Szöveg helye 2">
            <a:extLst>
              <a:ext uri="{FF2B5EF4-FFF2-40B4-BE49-F238E27FC236}">
                <a16:creationId xmlns:a16="http://schemas.microsoft.com/office/drawing/2014/main" id="{2A8ACF9B-1A0C-D8A1-14C2-FBF79C3B6B3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762749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B45EA6-82D4-4A67-88C1-1FB9A589D4B8}" type="datetime'''''''''''''''''''''''''''''''''''''''''''''''''''4''''''8'">
              <a:rPr lang="en-GB" altLang="en-US" sz="1400" b="1" smtClean="0"/>
              <a:pPr/>
              <a:t>48</a:t>
            </a:fld>
            <a:endParaRPr lang="en-GB" sz="1400" b="1" dirty="0"/>
          </a:p>
        </p:txBody>
      </p:sp>
      <p:sp>
        <p:nvSpPr>
          <p:cNvPr id="68" name="Szöveg helye 2">
            <a:extLst>
              <a:ext uri="{FF2B5EF4-FFF2-40B4-BE49-F238E27FC236}">
                <a16:creationId xmlns:a16="http://schemas.microsoft.com/office/drawing/2014/main" id="{571499FA-CFE3-E08D-423F-717702086DDD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7188200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BECEC8-CD15-4441-B7CC-5B98958B1FE2}" type="datetime'''''''''4''''''''''''''''''''''''''''9'''''">
              <a:rPr lang="en-GB" altLang="en-US" sz="1400" b="1" smtClean="0"/>
              <a:pPr/>
              <a:t>49</a:t>
            </a:fld>
            <a:endParaRPr lang="en-GB" sz="1400" b="1" dirty="0"/>
          </a:p>
        </p:txBody>
      </p:sp>
      <p:sp>
        <p:nvSpPr>
          <p:cNvPr id="69" name="Szöveg helye 2">
            <a:extLst>
              <a:ext uri="{FF2B5EF4-FFF2-40B4-BE49-F238E27FC236}">
                <a16:creationId xmlns:a16="http://schemas.microsoft.com/office/drawing/2014/main" id="{041ED089-7E5D-A708-055D-32B2EBF6373F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7613650" y="1465263"/>
            <a:ext cx="427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8929E0-CE96-464B-A28D-76203DE30F27}" type="datetime'''''''''''5''''''0'">
              <a:rPr lang="en-GB" altLang="en-US" sz="1400" b="1" smtClean="0"/>
              <a:pPr/>
              <a:t>50</a:t>
            </a:fld>
            <a:endParaRPr lang="en-GB" sz="1400" b="1" dirty="0"/>
          </a:p>
        </p:txBody>
      </p:sp>
      <p:sp>
        <p:nvSpPr>
          <p:cNvPr id="71" name="Szöveg helye 2">
            <a:extLst>
              <a:ext uri="{FF2B5EF4-FFF2-40B4-BE49-F238E27FC236}">
                <a16:creationId xmlns:a16="http://schemas.microsoft.com/office/drawing/2014/main" id="{C15D46BF-5B89-7A92-F5A8-9855C6CC5C5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8040688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89255B-238E-47AD-8082-7D87A133D158}" type="datetime'''''''''''''''''''''''''''''''5''''''''1'''''''''">
              <a:rPr lang="en-GB" altLang="en-US" sz="1400" b="1" smtClean="0"/>
              <a:pPr/>
              <a:t>51</a:t>
            </a:fld>
            <a:endParaRPr lang="en-GB" sz="1400" b="1" dirty="0"/>
          </a:p>
        </p:txBody>
      </p:sp>
      <p:sp>
        <p:nvSpPr>
          <p:cNvPr id="72" name="Szöveg helye 2">
            <a:extLst>
              <a:ext uri="{FF2B5EF4-FFF2-40B4-BE49-F238E27FC236}">
                <a16:creationId xmlns:a16="http://schemas.microsoft.com/office/drawing/2014/main" id="{1E672EA8-FF66-DEC2-898A-725ECC69827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8466137" y="1465263"/>
            <a:ext cx="427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0C9CD8-DDA2-4F0A-912B-224F0780DF1C}" type="datetime'''5''''''''''''''''''''''''''''''''''''''''''''''2'''">
              <a:rPr lang="en-GB" altLang="en-US" sz="1400" b="1" smtClean="0"/>
              <a:pPr/>
              <a:t>52</a:t>
            </a:fld>
            <a:endParaRPr lang="en-GB" sz="1400" b="1" dirty="0"/>
          </a:p>
        </p:txBody>
      </p:sp>
      <p:sp>
        <p:nvSpPr>
          <p:cNvPr id="337" name="Szöveg helye 2">
            <a:extLst>
              <a:ext uri="{FF2B5EF4-FFF2-40B4-BE49-F238E27FC236}">
                <a16:creationId xmlns:a16="http://schemas.microsoft.com/office/drawing/2014/main" id="{5380CC43-8422-F0A0-6E80-8BBF4BBB40E2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8893175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8683D5-A01A-4D8C-A8A1-8D278A72BDE1}" type="datetime'01'''''''''''''''''''''''''''''''''''">
              <a:rPr lang="en-GB" altLang="en-US" sz="1400" b="1" smtClean="0"/>
              <a:pPr/>
              <a:t>01</a:t>
            </a:fld>
            <a:endParaRPr lang="en-GB" sz="1400" b="1" dirty="0"/>
          </a:p>
        </p:txBody>
      </p:sp>
      <p:sp>
        <p:nvSpPr>
          <p:cNvPr id="339" name="Szöveg helye 2">
            <a:extLst>
              <a:ext uri="{FF2B5EF4-FFF2-40B4-BE49-F238E27FC236}">
                <a16:creationId xmlns:a16="http://schemas.microsoft.com/office/drawing/2014/main" id="{FA672F37-2C19-5222-A513-FA0626798BE0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9318625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FE3877-F607-4E22-8F0B-5C5B117E0CAD}" type="datetime'''''''''''''''''''''0''''''''''''''2'''">
              <a:rPr lang="en-GB" altLang="en-US" sz="1400" b="1" smtClean="0"/>
              <a:pPr/>
              <a:t>02</a:t>
            </a:fld>
            <a:endParaRPr lang="en-GB" sz="1400" b="1" dirty="0"/>
          </a:p>
        </p:txBody>
      </p:sp>
      <p:sp>
        <p:nvSpPr>
          <p:cNvPr id="340" name="Szöveg helye 2">
            <a:extLst>
              <a:ext uri="{FF2B5EF4-FFF2-40B4-BE49-F238E27FC236}">
                <a16:creationId xmlns:a16="http://schemas.microsoft.com/office/drawing/2014/main" id="{DEFC717B-4102-0DAF-BE58-1167C1E3070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9744074" y="1465263"/>
            <a:ext cx="427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E77082-5058-4318-B49D-147953B0A510}" type="datetime'''''''''''''''''''''''''0''''''''''3'''">
              <a:rPr lang="en-GB" altLang="en-US" sz="1400" b="1" smtClean="0"/>
              <a:pPr/>
              <a:t>03</a:t>
            </a:fld>
            <a:endParaRPr lang="en-GB" sz="1400" b="1" dirty="0"/>
          </a:p>
        </p:txBody>
      </p:sp>
      <p:sp>
        <p:nvSpPr>
          <p:cNvPr id="341" name="Szöveg helye 2">
            <a:extLst>
              <a:ext uri="{FF2B5EF4-FFF2-40B4-BE49-F238E27FC236}">
                <a16:creationId xmlns:a16="http://schemas.microsoft.com/office/drawing/2014/main" id="{73B87459-50CA-F683-3F7A-FEFF8E2DD09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10171113" y="1465263"/>
            <a:ext cx="4254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2BD33-DC96-453A-808F-F6D453842F70}" type="datetime'''''''''''''''''''''0''''''''''''4'''''''''''''''''''''''''''">
              <a:rPr lang="en-GB" altLang="en-US" sz="1400" b="1" smtClean="0"/>
              <a:pPr/>
              <a:t>04</a:t>
            </a:fld>
            <a:endParaRPr lang="en-GB" sz="1400" b="1" dirty="0"/>
          </a:p>
        </p:txBody>
      </p:sp>
      <p:sp>
        <p:nvSpPr>
          <p:cNvPr id="342" name="Szöveg helye 2">
            <a:extLst>
              <a:ext uri="{FF2B5EF4-FFF2-40B4-BE49-F238E27FC236}">
                <a16:creationId xmlns:a16="http://schemas.microsoft.com/office/drawing/2014/main" id="{A8B97B67-6DE4-505A-BCCE-77C9B10EE97F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10596563" y="1465263"/>
            <a:ext cx="1222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1400" b="1" dirty="0"/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76DBE503-A176-38BD-4990-EFE504680B73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749088" y="1811338"/>
            <a:ext cx="0" cy="36131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267E2BA-C69F-1936-4021-3E000FB8F144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3292475" y="1811338"/>
            <a:ext cx="0" cy="36131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A067626D-FDC6-88D6-6EA3-34A249F9B8C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7005638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424188A7-8915-248B-0790-6513C90CC30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0718800" y="1811338"/>
            <a:ext cx="0" cy="36131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7CE7740-9413-9D5F-61B3-B72AB2629B7F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127125" y="1811338"/>
            <a:ext cx="0" cy="36131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13B71094-81F8-F294-E5C9-B8C544E6BC64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180013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8EC3C420-E2A4-1316-7FDF-AEDD717FD04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6335713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E7985680-5F6A-E4C7-561F-0E7457D3AA8D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7613650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313F2DD2-07BC-AE42-F842-1679A22CDF5F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5910263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3C8F38D-2A00-4DF0-1045-4AABF36C2A45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6762750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52522888-C8A6-74AC-7A27-73B2A94F9320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8040688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53FB3C25-B747-D9BE-02C0-7CC4BCB747BD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5483225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47FA3935-F3ED-EB47-0F71-0DC73824020E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171113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97DE3AF-4B7C-C1B8-22CE-2FA4E12E1D13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3352800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201B6498-4C6F-8B90-B653-39B6E4F86D65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188200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3" name="Straight Connector 352">
            <a:extLst>
              <a:ext uri="{FF2B5EF4-FFF2-40B4-BE49-F238E27FC236}">
                <a16:creationId xmlns:a16="http://schemas.microsoft.com/office/drawing/2014/main" id="{A42C25AB-B52C-71D2-9616-8F6A081A35D7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10596563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31439F2-8199-B3E1-E749-141E7446AB6D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3779838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8149AFDE-4B8E-1943-DDCA-A639795B0819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4632325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4A095AD1-C6CC-5A6C-7811-853C37770342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8466138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5E9B0F67-5D20-C857-C877-224845B14DEA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9744075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1CDA2FB-BF59-A509-688B-5179C9521534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4205288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DFF38376-FF29-E1BF-D538-578E7DD2648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5057775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0" name="Straight Connector 349">
            <a:extLst>
              <a:ext uri="{FF2B5EF4-FFF2-40B4-BE49-F238E27FC236}">
                <a16:creationId xmlns:a16="http://schemas.microsoft.com/office/drawing/2014/main" id="{23AB2361-4071-514C-8C80-B5272D7091AD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9318625" y="1811338"/>
            <a:ext cx="0" cy="3613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D8EA42A2-E824-4C73-B6CE-0B6FCE81E25A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1127125" y="2498725"/>
            <a:ext cx="10621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D2CEEE30-C270-D3E0-CCA9-E49B56B75548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1127125" y="4940300"/>
            <a:ext cx="10621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6D8EA70-A0A9-50A7-33D6-3E49A0B97B78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1127125" y="3579813"/>
            <a:ext cx="10621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55B6AA5-7BF1-E0DF-537C-6197D696C091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1127125" y="5424488"/>
            <a:ext cx="106219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00EB8860-1075-B35A-6235-0A8D5CE870A1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8893175" y="1811338"/>
            <a:ext cx="0" cy="383063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1F7B77FC-D569-46F0-824C-DB9A5EC742EF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4144963" y="1811338"/>
            <a:ext cx="0" cy="383063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12C8A100-A4AA-F045-D4E6-E22C545C78EA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6945313" y="1811338"/>
            <a:ext cx="0" cy="383063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E6DCEFCC-3823-7F0F-1434-F17906F2A4A5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788025" y="1811338"/>
            <a:ext cx="0" cy="383063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F89A4C98-BB3F-46F2-DBF0-932B1CA93B73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4449763" y="1811338"/>
            <a:ext cx="0" cy="383063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12FDA1B0-ED85-441C-2974-7A2E8E864840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8405813" y="1811338"/>
            <a:ext cx="0" cy="383063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F379A0A-DFE7-6781-0B97-DC10916925E5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3840163" y="1811338"/>
            <a:ext cx="0" cy="383063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DD8F394-9A12-183E-BA2B-78344A4999EB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1127125" y="1811338"/>
            <a:ext cx="106219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1" name="Rectangle 410">
            <a:extLst>
              <a:ext uri="{FF2B5EF4-FFF2-40B4-BE49-F238E27FC236}">
                <a16:creationId xmlns:a16="http://schemas.microsoft.com/office/drawing/2014/main" id="{AF1C965C-0243-211D-A743-CFD382012663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4814888" y="2997200"/>
            <a:ext cx="8509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C0DD6AB9-A5A7-7B29-D844-5825DD26B1FC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3535363" y="2646363"/>
            <a:ext cx="127952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824CFADB-1F7A-0F72-379D-3B88DC8419E2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4387850" y="4078288"/>
            <a:ext cx="12176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8693F094-F4D0-4E47-1F31-B52A5CF750DB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5605463" y="4376738"/>
            <a:ext cx="8524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9B4F8A81-371F-C82C-A911-02C13580A2A0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4387850" y="3727450"/>
            <a:ext cx="12779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9DF6203F-42F2-5F66-ECEA-D58D0D98AA32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6457950" y="4727575"/>
            <a:ext cx="8524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625C323B-2890-3CA3-2177-FE6395BC5FD4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7310438" y="5081588"/>
            <a:ext cx="12176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2A406022-02CB-DAD0-CDA5-2C1B1E9B2C63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3535363" y="2279650"/>
            <a:ext cx="8524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0E56873E-9CE8-AC67-4A79-8CCB5934D3FF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5665788" y="3360738"/>
            <a:ext cx="4270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0E4DE7B9-037A-6BBF-FF0C-E1BD0FCF8B34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3657600" y="1938338"/>
            <a:ext cx="609600" cy="79375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accent2"/>
            </a:solidFill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1" name="Triangle 310">
            <a:extLst>
              <a:ext uri="{FF2B5EF4-FFF2-40B4-BE49-F238E27FC236}">
                <a16:creationId xmlns:a16="http://schemas.microsoft.com/office/drawing/2014/main" id="{BBB318B3-D868-5784-1468-95512078564C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8836025" y="5584825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4" name="Triangle 303">
            <a:extLst>
              <a:ext uri="{FF2B5EF4-FFF2-40B4-BE49-F238E27FC236}">
                <a16:creationId xmlns:a16="http://schemas.microsoft.com/office/drawing/2014/main" id="{816231F3-35A0-D6DD-2F13-F1B1E5682519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8348663" y="5584825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7" name="Triangle 316">
            <a:extLst>
              <a:ext uri="{FF2B5EF4-FFF2-40B4-BE49-F238E27FC236}">
                <a16:creationId xmlns:a16="http://schemas.microsoft.com/office/drawing/2014/main" id="{0D117920-FD65-8C93-3442-CEEBA93526DF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6888163" y="5584825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7" name="Triangle 256">
            <a:extLst>
              <a:ext uri="{FF2B5EF4-FFF2-40B4-BE49-F238E27FC236}">
                <a16:creationId xmlns:a16="http://schemas.microsoft.com/office/drawing/2014/main" id="{6FBCE44F-2317-375D-0D86-91912EB4563A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5730875" y="5584825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5" name="Triangle 244">
            <a:extLst>
              <a:ext uri="{FF2B5EF4-FFF2-40B4-BE49-F238E27FC236}">
                <a16:creationId xmlns:a16="http://schemas.microsoft.com/office/drawing/2014/main" id="{162CAA7B-AFBC-529E-318F-3470D375DDBC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4392613" y="5584825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0" name="Diamond 399">
            <a:extLst>
              <a:ext uri="{FF2B5EF4-FFF2-40B4-BE49-F238E27FC236}">
                <a16:creationId xmlns:a16="http://schemas.microsoft.com/office/drawing/2014/main" id="{218AEA83-E52A-225B-09EC-9D08891BA7D4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6218238" y="3719513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4" name="Diamond 333">
            <a:extLst>
              <a:ext uri="{FF2B5EF4-FFF2-40B4-BE49-F238E27FC236}">
                <a16:creationId xmlns:a16="http://schemas.microsoft.com/office/drawing/2014/main" id="{1E738BAD-C1A3-2669-5333-69DC35CCF9E0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6035675" y="3352800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" name="Triangle 151">
            <a:extLst>
              <a:ext uri="{FF2B5EF4-FFF2-40B4-BE49-F238E27FC236}">
                <a16:creationId xmlns:a16="http://schemas.microsoft.com/office/drawing/2014/main" id="{E073DE2A-33EB-A11E-3BD4-BABF590BB1A7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4087813" y="5584825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3" name="Diamond 432">
            <a:extLst>
              <a:ext uri="{FF2B5EF4-FFF2-40B4-BE49-F238E27FC236}">
                <a16:creationId xmlns:a16="http://schemas.microsoft.com/office/drawing/2014/main" id="{6BA492D8-59F4-ED37-8EBB-A16DC89CCBE9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7253288" y="471963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1" name="Triangle 140">
            <a:extLst>
              <a:ext uri="{FF2B5EF4-FFF2-40B4-BE49-F238E27FC236}">
                <a16:creationId xmlns:a16="http://schemas.microsoft.com/office/drawing/2014/main" id="{82102834-84BF-015D-F5CC-21E50D18230B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3783013" y="5584825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6" name="Diamond 225">
            <a:extLst>
              <a:ext uri="{FF2B5EF4-FFF2-40B4-BE49-F238E27FC236}">
                <a16:creationId xmlns:a16="http://schemas.microsoft.com/office/drawing/2014/main" id="{31E54770-5F8A-BDE3-05E5-4E64AF35B0C4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3478213" y="1920875"/>
            <a:ext cx="114300" cy="114300"/>
          </a:xfrm>
          <a:prstGeom prst="diamond">
            <a:avLst/>
          </a:prstGeom>
          <a:solidFill>
            <a:schemeClr val="accent5"/>
          </a:solidFill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6" name="Diamond 415">
            <a:extLst>
              <a:ext uri="{FF2B5EF4-FFF2-40B4-BE49-F238E27FC236}">
                <a16:creationId xmlns:a16="http://schemas.microsoft.com/office/drawing/2014/main" id="{FCF29733-DF69-580A-DB29-F087A9422BDE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6400800" y="4368800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8" name="Diamond 397">
            <a:extLst>
              <a:ext uri="{FF2B5EF4-FFF2-40B4-BE49-F238E27FC236}">
                <a16:creationId xmlns:a16="http://schemas.microsoft.com/office/drawing/2014/main" id="{72B0E36C-AB1B-C868-65C3-F0EFF17C18D1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5608638" y="3719513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3" name="Diamond 252">
            <a:extLst>
              <a:ext uri="{FF2B5EF4-FFF2-40B4-BE49-F238E27FC236}">
                <a16:creationId xmlns:a16="http://schemas.microsoft.com/office/drawing/2014/main" id="{D4F8A23F-5D9F-6967-B6A6-4FA6D16F8358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4757738" y="2638425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9" name="Diamond 328">
            <a:extLst>
              <a:ext uri="{FF2B5EF4-FFF2-40B4-BE49-F238E27FC236}">
                <a16:creationId xmlns:a16="http://schemas.microsoft.com/office/drawing/2014/main" id="{9975D2B1-9DB7-72B9-0FAF-8EC0A15B0C2E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5608638" y="298926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9" name="Diamond 408">
            <a:extLst>
              <a:ext uri="{FF2B5EF4-FFF2-40B4-BE49-F238E27FC236}">
                <a16:creationId xmlns:a16="http://schemas.microsoft.com/office/drawing/2014/main" id="{8ECA0D51-AE03-BE59-F1AA-5C7894227B5E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4330700" y="2271713"/>
            <a:ext cx="114300" cy="114300"/>
          </a:xfrm>
          <a:prstGeom prst="diamond">
            <a:avLst/>
          </a:prstGeom>
          <a:solidFill>
            <a:schemeClr val="accent5"/>
          </a:solidFill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1" name="Diamond 330">
            <a:extLst>
              <a:ext uri="{FF2B5EF4-FFF2-40B4-BE49-F238E27FC236}">
                <a16:creationId xmlns:a16="http://schemas.microsoft.com/office/drawing/2014/main" id="{8C3528B4-CBFD-8C15-CCE2-D9FC6B238812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5608638" y="3352800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7BBE04E5-4223-3259-2413-87FAC6498EE1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 flipV="1">
            <a:off x="3517901" y="5721350"/>
            <a:ext cx="322263" cy="4603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9C5CAEFE-E1CD-66D5-CDDF-428BA711C98E}"/>
              </a:ext>
            </a:extLst>
          </p:cNvPr>
          <p:cNvCxnSpPr>
            <a:cxnSpLocks/>
          </p:cNvCxnSpPr>
          <p:nvPr>
            <p:custDataLst>
              <p:tags r:id="rId88"/>
            </p:custDataLst>
          </p:nvPr>
        </p:nvCxnSpPr>
        <p:spPr bwMode="gray">
          <a:xfrm flipH="1" flipV="1">
            <a:off x="4144963" y="5721350"/>
            <a:ext cx="26988" cy="4603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5AC8C06C-A5F4-F553-C848-2FB5933AC73A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gray">
          <a:xfrm flipH="1" flipV="1">
            <a:off x="4449763" y="5721350"/>
            <a:ext cx="322263" cy="4603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6679CE10-9109-5080-C298-5E76F35E50B2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gray">
          <a:xfrm flipV="1">
            <a:off x="8259763" y="5721350"/>
            <a:ext cx="146050" cy="4603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7138F99D-6BFA-C0FD-8946-B98A001FB997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 flipH="1" flipV="1">
            <a:off x="8893175" y="5721350"/>
            <a:ext cx="147638" cy="4603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415" name="Szöveg helye 2">
            <a:extLst>
              <a:ext uri="{FF2B5EF4-FFF2-40B4-BE49-F238E27FC236}">
                <a16:creationId xmlns:a16="http://schemas.microsoft.com/office/drawing/2014/main" id="{9A4F7D15-9C6F-6BC7-A1E8-2303CCB0A36C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6121400" y="4505325"/>
            <a:ext cx="67310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SIT approved</a:t>
            </a:r>
          </a:p>
        </p:txBody>
      </p:sp>
      <p:sp useBgFill="1">
        <p:nvSpPr>
          <p:cNvPr id="397" name="Szöveg helye 2">
            <a:extLst>
              <a:ext uri="{FF2B5EF4-FFF2-40B4-BE49-F238E27FC236}">
                <a16:creationId xmlns:a16="http://schemas.microsoft.com/office/drawing/2014/main" id="{733020BA-4DDF-E6A9-74AD-C89D76731DFA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5588000" y="3856038"/>
            <a:ext cx="49530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Studio V1</a:t>
            </a:r>
          </a:p>
        </p:txBody>
      </p:sp>
      <p:sp>
        <p:nvSpPr>
          <p:cNvPr id="113" name="Szöveg helye 2">
            <a:extLst>
              <a:ext uri="{FF2B5EF4-FFF2-40B4-BE49-F238E27FC236}">
                <a16:creationId xmlns:a16="http://schemas.microsoft.com/office/drawing/2014/main" id="{ABE0C4C3-FC35-5777-E393-B4FDC9678441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1198563" y="4264025"/>
            <a:ext cx="1925638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E793E9-0D87-445A-B5C2-B7D3B1266EF4}" type="datetime'I''nte''grat''i''on Va''''l''id''''''ation'' ''(''S''I''''T)'">
              <a:rPr lang="en-GB" altLang="en-US" sz="1400" smtClean="0"/>
              <a:pPr/>
              <a:t>Integration Validation (SIT)</a:t>
            </a:fld>
            <a:endParaRPr lang="en-GB" sz="1400" dirty="0"/>
          </a:p>
        </p:txBody>
      </p:sp>
      <p:sp>
        <p:nvSpPr>
          <p:cNvPr id="390" name="Szöveg helye 2">
            <a:extLst>
              <a:ext uri="{FF2B5EF4-FFF2-40B4-BE49-F238E27FC236}">
                <a16:creationId xmlns:a16="http://schemas.microsoft.com/office/drawing/2014/main" id="{A9675764-7D17-C307-FE64-86E6882ADCC5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10790238" y="4264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386" name="Szöveg helye 2">
            <a:extLst>
              <a:ext uri="{FF2B5EF4-FFF2-40B4-BE49-F238E27FC236}">
                <a16:creationId xmlns:a16="http://schemas.microsoft.com/office/drawing/2014/main" id="{FAD929E8-F77D-3A5C-CE89-0DA8A09642F0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10790238" y="36147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CUS, HY</a:t>
            </a:r>
            <a:endParaRPr lang="en-GB" sz="1000" dirty="0"/>
          </a:p>
        </p:txBody>
      </p:sp>
      <p:sp useBgFill="1">
        <p:nvSpPr>
          <p:cNvPr id="432" name="Szöveg helye 2">
            <a:extLst>
              <a:ext uri="{FF2B5EF4-FFF2-40B4-BE49-F238E27FC236}">
                <a16:creationId xmlns:a16="http://schemas.microsoft.com/office/drawing/2014/main" id="{C1440274-6F11-8ACA-BA8D-F2293A224CF6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7023100" y="4856163"/>
            <a:ext cx="57626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Go / No Go</a:t>
            </a:r>
          </a:p>
        </p:txBody>
      </p:sp>
      <p:sp>
        <p:nvSpPr>
          <p:cNvPr id="384" name="Szöveg helye 2">
            <a:extLst>
              <a:ext uri="{FF2B5EF4-FFF2-40B4-BE49-F238E27FC236}">
                <a16:creationId xmlns:a16="http://schemas.microsoft.com/office/drawing/2014/main" id="{75FE4CE9-6679-FCBD-D6CD-56DE5EAA9A20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10790238" y="3248025"/>
            <a:ext cx="411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CUS; HY</a:t>
            </a:r>
            <a:endParaRPr lang="en-GB" sz="1000" dirty="0"/>
          </a:p>
        </p:txBody>
      </p:sp>
      <p:sp>
        <p:nvSpPr>
          <p:cNvPr id="114" name="Szöveg helye 2">
            <a:extLst>
              <a:ext uri="{FF2B5EF4-FFF2-40B4-BE49-F238E27FC236}">
                <a16:creationId xmlns:a16="http://schemas.microsoft.com/office/drawing/2014/main" id="{27793C0B-5F77-6A74-385D-27B69501AA30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1198563" y="4614863"/>
            <a:ext cx="1800225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D453F0-8376-4CB6-8D5E-EE85C5DCB011}" type="datetime'Solu''ti''on'''''''' ''Val''idati''''o''n'''''' ''(''''UAT)'''">
              <a:rPr lang="en-GB" altLang="en-US" sz="1400" smtClean="0"/>
              <a:pPr/>
              <a:t>Solution Validation (UAT)</a:t>
            </a:fld>
            <a:endParaRPr lang="en-GB" sz="1400" dirty="0"/>
          </a:p>
        </p:txBody>
      </p:sp>
      <p:sp>
        <p:nvSpPr>
          <p:cNvPr id="392" name="Szöveg helye 2">
            <a:extLst>
              <a:ext uri="{FF2B5EF4-FFF2-40B4-BE49-F238E27FC236}">
                <a16:creationId xmlns:a16="http://schemas.microsoft.com/office/drawing/2014/main" id="{1841A049-F195-7547-197C-07FCF59D0D8F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10790238" y="4614863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 useBgFill="1">
        <p:nvSpPr>
          <p:cNvPr id="357" name="Szöveg helye 2">
            <a:extLst>
              <a:ext uri="{FF2B5EF4-FFF2-40B4-BE49-F238E27FC236}">
                <a16:creationId xmlns:a16="http://schemas.microsoft.com/office/drawing/2014/main" id="{7A59E740-477D-61D6-AF1F-B0F0B5F39706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7651750" y="5197475"/>
            <a:ext cx="53340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>
                <a:effectLst/>
              </a:rPr>
              <a:t>Hypercare</a:t>
            </a:r>
            <a:endParaRPr lang="en-GB" sz="1000" dirty="0"/>
          </a:p>
        </p:txBody>
      </p:sp>
      <p:sp>
        <p:nvSpPr>
          <p:cNvPr id="110" name="Szöveg helye 2">
            <a:extLst>
              <a:ext uri="{FF2B5EF4-FFF2-40B4-BE49-F238E27FC236}">
                <a16:creationId xmlns:a16="http://schemas.microsoft.com/office/drawing/2014/main" id="{6467456C-411B-B7DC-B601-DC0A8386FAB8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1198563" y="3248025"/>
            <a:ext cx="13509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AFF3A2-E722-4C75-85C9-B0A0BE20D0AB}" type="datetime'ML'''''''''''''' ''''''M''o''del ''''''''Tr''''''aini''n''''g'">
              <a:rPr lang="en-GB" altLang="en-US" sz="1400" smtClean="0"/>
              <a:pPr/>
              <a:t>ML Model Training</a:t>
            </a:fld>
            <a:endParaRPr lang="en-GB" sz="1400" dirty="0"/>
          </a:p>
        </p:txBody>
      </p:sp>
      <p:sp>
        <p:nvSpPr>
          <p:cNvPr id="116" name="Szöveg helye 2">
            <a:extLst>
              <a:ext uri="{FF2B5EF4-FFF2-40B4-BE49-F238E27FC236}">
                <a16:creationId xmlns:a16="http://schemas.microsoft.com/office/drawing/2014/main" id="{D8968059-0266-B0D1-BB9E-761A0503C578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1198563" y="4968875"/>
            <a:ext cx="14716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8087C3-0E99-4A45-B078-3F3363072DD5}" type="datetime'G''o ''''L''''i''''''ve &amp;'' ''''H''''''''y''perc''''''ar''''e'">
              <a:rPr lang="en-GB" altLang="en-US" sz="1400" smtClean="0"/>
              <a:pPr/>
              <a:t>Go Live &amp; Hypercare</a:t>
            </a:fld>
            <a:endParaRPr lang="en-GB" sz="1400" dirty="0"/>
          </a:p>
        </p:txBody>
      </p:sp>
      <p:sp>
        <p:nvSpPr>
          <p:cNvPr id="394" name="Szöveg helye 2">
            <a:extLst>
              <a:ext uri="{FF2B5EF4-FFF2-40B4-BE49-F238E27FC236}">
                <a16:creationId xmlns:a16="http://schemas.microsoft.com/office/drawing/2014/main" id="{89C60934-608A-A103-2DF3-0FC618D78DD2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10790238" y="496887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 useBgFill="1">
        <p:nvSpPr>
          <p:cNvPr id="332" name="Szöveg helye 2">
            <a:extLst>
              <a:ext uri="{FF2B5EF4-FFF2-40B4-BE49-F238E27FC236}">
                <a16:creationId xmlns:a16="http://schemas.microsoft.com/office/drawing/2014/main" id="{55D5534E-305F-B29A-B354-F8157A557D0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5905500" y="3489325"/>
            <a:ext cx="4984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>
                <a:effectLst/>
              </a:rPr>
              <a:t>Model V2</a:t>
            </a:r>
            <a:endParaRPr lang="en-GB" sz="1000" dirty="0"/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F03FD338-7B88-2385-0214-CBB3411C0A0C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1198563" y="1489075"/>
            <a:ext cx="563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C31E3B-BFBE-4BC7-9A08-535B49CA2782}" type="datetime'A''''''''''''''''''''''''''''''''''''''c''''''t''''i''vity'">
              <a:rPr lang="en-GB" altLang="en-US" sz="14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GB" sz="1400" b="1" dirty="0"/>
          </a:p>
        </p:txBody>
      </p:sp>
      <p:sp>
        <p:nvSpPr>
          <p:cNvPr id="359" name="Szöveg helye 2">
            <a:extLst>
              <a:ext uri="{FF2B5EF4-FFF2-40B4-BE49-F238E27FC236}">
                <a16:creationId xmlns:a16="http://schemas.microsoft.com/office/drawing/2014/main" id="{B095D036-4D36-55F7-BF59-0F170E56F459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10790238" y="1489075"/>
            <a:ext cx="8874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06E4D1-329C-4B77-989A-1FED6727D8F9}" type="datetime'''''''''''''''''''''''R''espo''ns''''ib''''l''''e'''''''''''">
              <a:rPr lang="en-GB" altLang="en-US" sz="14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ponsible</a:t>
            </a:fld>
            <a:endParaRPr lang="en-GB" sz="1400" b="1" dirty="0"/>
          </a:p>
        </p:txBody>
      </p:sp>
      <p:sp useBgFill="1">
        <p:nvSpPr>
          <p:cNvPr id="330" name="Szöveg helye 2">
            <a:extLst>
              <a:ext uri="{FF2B5EF4-FFF2-40B4-BE49-F238E27FC236}">
                <a16:creationId xmlns:a16="http://schemas.microsoft.com/office/drawing/2014/main" id="{F4AE20CB-0FF7-CBE9-90A8-43A92DD94673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5356225" y="3489325"/>
            <a:ext cx="4984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Model V1</a:t>
            </a:r>
          </a:p>
        </p:txBody>
      </p:sp>
      <p:sp>
        <p:nvSpPr>
          <p:cNvPr id="382" name="Szöveg helye 2">
            <a:extLst>
              <a:ext uri="{FF2B5EF4-FFF2-40B4-BE49-F238E27FC236}">
                <a16:creationId xmlns:a16="http://schemas.microsoft.com/office/drawing/2014/main" id="{05DDC77C-78AE-14BD-9511-5EE1C025FE14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10790238" y="28844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CUS, HY</a:t>
            </a:r>
            <a:endParaRPr lang="en-GB" sz="1000" dirty="0"/>
          </a:p>
        </p:txBody>
      </p:sp>
      <p:sp>
        <p:nvSpPr>
          <p:cNvPr id="108" name="Szöveg helye 2">
            <a:extLst>
              <a:ext uri="{FF2B5EF4-FFF2-40B4-BE49-F238E27FC236}">
                <a16:creationId xmlns:a16="http://schemas.microsoft.com/office/drawing/2014/main" id="{56F32612-46EF-8554-4B68-C4D9CC72768C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198563" y="2884488"/>
            <a:ext cx="15922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94DA32-41CB-4E82-9E9F-39795B2502D1}" type="datetime'M''''''''''L ''Mo''''''d''''el'''' Ann''''o''t''''at''i''o''n'">
              <a:rPr lang="en-GB" altLang="en-US" sz="1400" smtClean="0"/>
              <a:pPr/>
              <a:t>ML Model Annotation</a:t>
            </a:fld>
            <a:endParaRPr lang="en-GB" sz="1400" dirty="0"/>
          </a:p>
        </p:txBody>
      </p:sp>
      <p:sp useBgFill="1">
        <p:nvSpPr>
          <p:cNvPr id="328" name="Szöveg helye 2">
            <a:extLst>
              <a:ext uri="{FF2B5EF4-FFF2-40B4-BE49-F238E27FC236}">
                <a16:creationId xmlns:a16="http://schemas.microsoft.com/office/drawing/2014/main" id="{C57284ED-DE3D-1025-608E-2546014B1301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5100638" y="3125788"/>
            <a:ext cx="113030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>
                <a:effectLst/>
              </a:rPr>
              <a:t>Annotation Validation</a:t>
            </a:r>
            <a:endParaRPr lang="en-GB" sz="1000" dirty="0"/>
          </a:p>
        </p:txBody>
      </p:sp>
      <p:sp>
        <p:nvSpPr>
          <p:cNvPr id="139" name="Szöveg helye 2">
            <a:extLst>
              <a:ext uri="{FF2B5EF4-FFF2-40B4-BE49-F238E27FC236}">
                <a16:creationId xmlns:a16="http://schemas.microsoft.com/office/drawing/2014/main" id="{22E3E4C7-A5FE-9B44-0D36-4EBD6024E82F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3200400" y="5767388"/>
            <a:ext cx="6365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Assessment </a:t>
            </a:r>
            <a:br>
              <a:rPr lang="en-GB" altLang="en-US" sz="1000" dirty="0"/>
            </a:br>
            <a:r>
              <a:rPr lang="en-GB" altLang="en-US" sz="1000" dirty="0"/>
              <a:t>Workshop</a:t>
            </a:r>
            <a:endParaRPr lang="en-GB" sz="1000" dirty="0"/>
          </a:p>
        </p:txBody>
      </p:sp>
      <p:sp>
        <p:nvSpPr>
          <p:cNvPr id="380" name="Szöveg helye 2">
            <a:extLst>
              <a:ext uri="{FF2B5EF4-FFF2-40B4-BE49-F238E27FC236}">
                <a16:creationId xmlns:a16="http://schemas.microsoft.com/office/drawing/2014/main" id="{59D976FC-DE9C-2A16-9959-B034D30B8F62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0790238" y="253365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7" name="Szöveg helye 2">
            <a:extLst>
              <a:ext uri="{FF2B5EF4-FFF2-40B4-BE49-F238E27FC236}">
                <a16:creationId xmlns:a16="http://schemas.microsoft.com/office/drawing/2014/main" id="{53F81BBC-2DAF-A593-4FEE-5965E121866B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1198563" y="2533650"/>
            <a:ext cx="17573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499FEA-D56C-4928-B12E-881D66FCF74C}" type="datetime'P''''rov''''idin''g'' ''''S''''''ampl''''''''i''ng'' Dat''''a'">
              <a:rPr lang="en-GB" altLang="en-US" sz="1400" smtClean="0"/>
              <a:pPr/>
              <a:t>Providing Sampling Data</a:t>
            </a:fld>
            <a:endParaRPr lang="en-GB" sz="1400" dirty="0"/>
          </a:p>
        </p:txBody>
      </p:sp>
      <p:sp useBgFill="1">
        <p:nvSpPr>
          <p:cNvPr id="251" name="Szöveg helye 2">
            <a:extLst>
              <a:ext uri="{FF2B5EF4-FFF2-40B4-BE49-F238E27FC236}">
                <a16:creationId xmlns:a16="http://schemas.microsoft.com/office/drawing/2014/main" id="{CA1B2676-C785-D889-A034-3FAECAE2BA4D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4157663" y="2774950"/>
            <a:ext cx="13144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>
                <a:effectLst/>
              </a:rPr>
              <a:t>Sampling Data Confirmed</a:t>
            </a:r>
            <a:endParaRPr lang="en-GB" sz="1000" dirty="0"/>
          </a:p>
        </p:txBody>
      </p:sp>
      <p:sp>
        <p:nvSpPr>
          <p:cNvPr id="378" name="Szöveg helye 2">
            <a:extLst>
              <a:ext uri="{FF2B5EF4-FFF2-40B4-BE49-F238E27FC236}">
                <a16:creationId xmlns:a16="http://schemas.microsoft.com/office/drawing/2014/main" id="{7A99CA46-BC2E-DA8F-B197-5CBDF8855419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10790238" y="21669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6" name="Szöveg helye 2">
            <a:extLst>
              <a:ext uri="{FF2B5EF4-FFF2-40B4-BE49-F238E27FC236}">
                <a16:creationId xmlns:a16="http://schemas.microsoft.com/office/drawing/2014/main" id="{600FB1D8-742A-1FF2-8ED0-048A6560DD7A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1198563" y="2166938"/>
            <a:ext cx="15414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857BF4-A0CE-474B-9A7D-F27B20F12614}" type="datetime'''As''ses''''s''''''''m''''ent'' &amp; ''''De''si''''''g''''''n'">
              <a:rPr lang="en-GB" altLang="en-US" sz="1400" smtClean="0"/>
              <a:pPr/>
              <a:t>Assessment &amp; Design</a:t>
            </a:fld>
            <a:endParaRPr lang="en-GB" sz="1400" dirty="0"/>
          </a:p>
        </p:txBody>
      </p:sp>
      <p:sp useBgFill="1">
        <p:nvSpPr>
          <p:cNvPr id="407" name="Szöveg helye 2">
            <a:extLst>
              <a:ext uri="{FF2B5EF4-FFF2-40B4-BE49-F238E27FC236}">
                <a16:creationId xmlns:a16="http://schemas.microsoft.com/office/drawing/2014/main" id="{E7FDBFBF-0E5C-4B4E-E295-F1EA8D5A1FD5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3751263" y="2408238"/>
            <a:ext cx="12731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>
                <a:effectLst/>
              </a:rPr>
              <a:t>Tech Solution Confirmed</a:t>
            </a:r>
            <a:endParaRPr lang="en-GB" sz="1000" dirty="0"/>
          </a:p>
        </p:txBody>
      </p:sp>
      <p:sp>
        <p:nvSpPr>
          <p:cNvPr id="377" name="Szöveg helye 2">
            <a:extLst>
              <a:ext uri="{FF2B5EF4-FFF2-40B4-BE49-F238E27FC236}">
                <a16:creationId xmlns:a16="http://schemas.microsoft.com/office/drawing/2014/main" id="{B7F2FDA6-3F61-D174-32F8-19171FF75CF1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0790239" y="1816101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1" name="Szöveg helye 2">
            <a:extLst>
              <a:ext uri="{FF2B5EF4-FFF2-40B4-BE49-F238E27FC236}">
                <a16:creationId xmlns:a16="http://schemas.microsoft.com/office/drawing/2014/main" id="{3FD495E1-BBB2-F73D-9F9D-125F5EECEFDA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1198563" y="1816100"/>
            <a:ext cx="20050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26966D-00C2-43CE-A9BC-A1BB71179579}" type="datetime'''Us''e''''r ''Onbo''''''ard''''ing'' ''&amp; T''rai''''nin''''g'">
              <a:rPr lang="en-GB" altLang="en-US" sz="1400" smtClean="0"/>
              <a:pPr/>
              <a:t>User Onboarding &amp; Training</a:t>
            </a:fld>
            <a:endParaRPr lang="en-GB" sz="1400" dirty="0"/>
          </a:p>
        </p:txBody>
      </p:sp>
      <p:sp useBgFill="1">
        <p:nvSpPr>
          <p:cNvPr id="223" name="Szöveg helye 2">
            <a:extLst>
              <a:ext uri="{FF2B5EF4-FFF2-40B4-BE49-F238E27FC236}">
                <a16:creationId xmlns:a16="http://schemas.microsoft.com/office/drawing/2014/main" id="{12D743D4-A74F-FE79-9014-28865DDAB747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3338513" y="2057400"/>
            <a:ext cx="3952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>
                <a:effectLst/>
              </a:rPr>
              <a:t>Kick Off</a:t>
            </a:r>
            <a:endParaRPr lang="en-GB" sz="1000" dirty="0"/>
          </a:p>
        </p:txBody>
      </p:sp>
      <p:sp useBgFill="1">
        <p:nvSpPr>
          <p:cNvPr id="399" name="Szöveg helye 2">
            <a:extLst>
              <a:ext uri="{FF2B5EF4-FFF2-40B4-BE49-F238E27FC236}">
                <a16:creationId xmlns:a16="http://schemas.microsoft.com/office/drawing/2014/main" id="{B97D2CE2-6D8A-1896-B436-F7CCB35AC52A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6134100" y="3856038"/>
            <a:ext cx="49530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>
                <a:effectLst/>
              </a:rPr>
              <a:t>Studio V2</a:t>
            </a:r>
            <a:endParaRPr lang="en-GB" sz="1000" dirty="0"/>
          </a:p>
        </p:txBody>
      </p:sp>
      <p:sp>
        <p:nvSpPr>
          <p:cNvPr id="309" name="Szöveg helye 2">
            <a:extLst>
              <a:ext uri="{FF2B5EF4-FFF2-40B4-BE49-F238E27FC236}">
                <a16:creationId xmlns:a16="http://schemas.microsoft.com/office/drawing/2014/main" id="{5A43A079-A5E1-9F94-A8FB-D4E7F561FF0B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8636000" y="5767388"/>
            <a:ext cx="81121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Go Live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(not confirmed)</a:t>
            </a:r>
            <a:endParaRPr lang="en-GB" sz="1000" dirty="0"/>
          </a:p>
        </p:txBody>
      </p:sp>
      <p:sp>
        <p:nvSpPr>
          <p:cNvPr id="388" name="Szöveg helye 2">
            <a:extLst>
              <a:ext uri="{FF2B5EF4-FFF2-40B4-BE49-F238E27FC236}">
                <a16:creationId xmlns:a16="http://schemas.microsoft.com/office/drawing/2014/main" id="{7A57FF25-0A1B-153E-3A21-9C067194A8CC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0790238" y="396557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301" name="Szöveg helye 2">
            <a:extLst>
              <a:ext uri="{FF2B5EF4-FFF2-40B4-BE49-F238E27FC236}">
                <a16:creationId xmlns:a16="http://schemas.microsoft.com/office/drawing/2014/main" id="{D9DBA594-7059-4960-2CDA-A6E2A1CB8824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7934325" y="5767388"/>
            <a:ext cx="65087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Go Live Date</a:t>
            </a:r>
            <a:br>
              <a:rPr lang="en-GB" altLang="en-US" sz="1000" dirty="0"/>
            </a:br>
            <a:r>
              <a:rPr lang="en-GB" altLang="en-US" sz="1000" dirty="0"/>
              <a:t>Decision</a:t>
            </a:r>
            <a:endParaRPr lang="en-GB" sz="1000" dirty="0"/>
          </a:p>
        </p:txBody>
      </p:sp>
      <p:sp>
        <p:nvSpPr>
          <p:cNvPr id="315" name="Szöveg helye 2">
            <a:extLst>
              <a:ext uri="{FF2B5EF4-FFF2-40B4-BE49-F238E27FC236}">
                <a16:creationId xmlns:a16="http://schemas.microsoft.com/office/drawing/2014/main" id="{C1850EE4-099C-0878-BC26-D635724C284B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6661150" y="5767388"/>
            <a:ext cx="568325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Functiona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Testing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ompleted</a:t>
            </a:r>
          </a:p>
        </p:txBody>
      </p:sp>
      <p:sp>
        <p:nvSpPr>
          <p:cNvPr id="254" name="Szöveg helye 2">
            <a:extLst>
              <a:ext uri="{FF2B5EF4-FFF2-40B4-BE49-F238E27FC236}">
                <a16:creationId xmlns:a16="http://schemas.microsoft.com/office/drawing/2014/main" id="{91A6B9AB-584F-9480-C2B6-816100DB0B84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5399088" y="5767388"/>
            <a:ext cx="777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Design Sign Off</a:t>
            </a:r>
            <a:endParaRPr lang="en-GB" sz="1000" dirty="0"/>
          </a:p>
        </p:txBody>
      </p:sp>
      <p:sp>
        <p:nvSpPr>
          <p:cNvPr id="112" name="Szöveg helye 2">
            <a:extLst>
              <a:ext uri="{FF2B5EF4-FFF2-40B4-BE49-F238E27FC236}">
                <a16:creationId xmlns:a16="http://schemas.microsoft.com/office/drawing/2014/main" id="{B990CC2F-040C-A388-4478-3DCD9F51FDCA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auto">
          <a:xfrm>
            <a:off x="1198563" y="3965575"/>
            <a:ext cx="2001838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CC092D-1B2A-4CA7-BEFB-3B9DC9D89BE0}" type="datetime'''I''nt''eg''rat''''''io''n'' I''m''p''l''emen''ta''''''tion'">
              <a:rPr lang="en-GB" altLang="en-US" sz="1400" smtClean="0"/>
              <a:pPr/>
              <a:t>Integration Implementation</a:t>
            </a:fld>
            <a:endParaRPr lang="en-GB" sz="1400" dirty="0"/>
          </a:p>
        </p:txBody>
      </p:sp>
      <p:sp>
        <p:nvSpPr>
          <p:cNvPr id="243" name="Szöveg helye 2">
            <a:extLst>
              <a:ext uri="{FF2B5EF4-FFF2-40B4-BE49-F238E27FC236}">
                <a16:creationId xmlns:a16="http://schemas.microsoft.com/office/drawing/2014/main" id="{AE4B9C40-BC8B-E16F-FC6D-5B1468A4279D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auto">
          <a:xfrm>
            <a:off x="4506913" y="5767388"/>
            <a:ext cx="5302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Technical </a:t>
            </a:r>
            <a:br>
              <a:rPr lang="en-GB" altLang="en-US" sz="1000" dirty="0"/>
            </a:br>
            <a:r>
              <a:rPr lang="en-GB" altLang="en-US" sz="1000" dirty="0"/>
              <a:t>Workshop</a:t>
            </a:r>
            <a:endParaRPr lang="en-GB" sz="1000" dirty="0"/>
          </a:p>
        </p:txBody>
      </p:sp>
      <p:sp>
        <p:nvSpPr>
          <p:cNvPr id="111" name="Szöveg helye 2">
            <a:extLst>
              <a:ext uri="{FF2B5EF4-FFF2-40B4-BE49-F238E27FC236}">
                <a16:creationId xmlns:a16="http://schemas.microsoft.com/office/drawing/2014/main" id="{9D8EED5F-C4F8-5D9E-F6D5-88CDA57D0644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auto">
          <a:xfrm>
            <a:off x="1198563" y="3614738"/>
            <a:ext cx="2022475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8A4A43-4EA8-4CD2-ADC2-69241B33AEA0}" type="datetime'Appli''cat''i''''''''''o''n Impl''emen''t''a''''''ti''''o''n'">
              <a:rPr lang="en-GB" altLang="en-US" sz="1400" smtClean="0"/>
              <a:pPr/>
              <a:t>Application Implementation</a:t>
            </a:fld>
            <a:endParaRPr lang="en-GB" sz="1400" dirty="0"/>
          </a:p>
        </p:txBody>
      </p:sp>
      <p:sp>
        <p:nvSpPr>
          <p:cNvPr id="150" name="Szöveg helye 2">
            <a:extLst>
              <a:ext uri="{FF2B5EF4-FFF2-40B4-BE49-F238E27FC236}">
                <a16:creationId xmlns:a16="http://schemas.microsoft.com/office/drawing/2014/main" id="{A7D532A1-563A-894F-6E4A-B4781341E985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3887788" y="5767388"/>
            <a:ext cx="5683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Functional </a:t>
            </a:r>
            <a:br>
              <a:rPr lang="en-GB" altLang="en-US" sz="1000" dirty="0"/>
            </a:br>
            <a:r>
              <a:rPr lang="en-GB" altLang="en-US" sz="1000" dirty="0"/>
              <a:t>Workshop</a:t>
            </a:r>
            <a:endParaRPr lang="en-GB" sz="1000" dirty="0"/>
          </a:p>
        </p:txBody>
      </p:sp>
      <p:sp useBgFill="1">
        <p:nvSpPr>
          <p:cNvPr id="424" name="Szöveg helye 2">
            <a:extLst>
              <a:ext uri="{FF2B5EF4-FFF2-40B4-BE49-F238E27FC236}">
                <a16:creationId xmlns:a16="http://schemas.microsoft.com/office/drawing/2014/main" id="{C8057F3C-46DA-56B6-E14C-EFDD6ACE831F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4179888" y="3856038"/>
            <a:ext cx="13573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>
                <a:effectLst/>
              </a:rPr>
              <a:t>Studio Env &amp; Optimization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645484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09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uKylVr1ohKh7BA9hhh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AbSsYDLPnVDJ7mvOi3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2HH46erVNUzkQuqXp.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gCJhzUUzjIK6bUE2Nt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GpLLbwe79BDHX9VqF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Ke8QwwfERddxV9.YMU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N64f6OB_Q6zwELHaR.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40h8NZiW_Ms1v3hJN2F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5Jyacddc4P2JXiEQs0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i66lcMnMOH9yUMLN32U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86vwwD1O1dINfLw300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lT.zSJAxlIo6mtM2d1k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29DTSUVehcwqnT6sI8D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hoo7_jbrowEr2J2kISu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7HuGDnyMgmjLJv5UXz4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A9niVyjc2Jetzvz35H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KrLMiY0dyJsfPIjsGU0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DTACWQdmEGKgT07pyK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SkuD_kKpN4ruuc8yuWe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RQYKRiEldLNLWAGgns0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yUr86Eu2pLetFj8PFrO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yBUqKl_3cDKQVmbgq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12iXN_EEQlWhoZAMmq.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J_KWt040kmtQOcGMHc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8xIiN8RrXOGNp7nOs4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nPXaZeJSJD27ghXYhM7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ozZyuwd0k2KbQga6rdN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8X4plasimphvaW6kLx3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uExLS9G9biyJGHbHAAS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qYjDMCebfOD3rO1lpI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u6eCgYmpj.qpBzWG57J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LT_v34C9OFp7rKAbae2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3GQtKXKpGg4pYHRE0I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SMYsjAr92oRrcxLxezI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SslxIqTBdDBtEUvGkd6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FN9.lDtR40nzYO40YeP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Q6lDgO586sonLT2648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l4vzBzthVR4VMmrGw2I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zhCZ6f6RqJYgeGkyr46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LuE5Y1exttxrIUc63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oUK4LiJW.U6DtbQfb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12rcW2diCIRjcRvKbW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GZRgRqgrJh2Je6mEpW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BothH41Pmn3ikD1rdy9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S5b8a_KlrNNWeLqWfo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g.ZL20Ak3z64OpL5Q5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mYduLmqOs99xyoOQ.F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HDKqspu5g3bIfovGvZ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WCg5xIzURQ4._P06h6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Y5uIWoWe0Ll4.ch8fn9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SwAvnPa7W_d6ZtUt5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nGt10sux.ffxzMUByQ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GrNwsIBhw7BhNN1UA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Dsp4_6gOvOO2k68vg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trsIquXVDfHD.RQlnO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fz_LBhMKB_RCb3iE8y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F6xImezS7Swz0EWU2N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OolTzDU9Y.vS1Owgsm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jrXG44bkacu.hB0A_j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uJKF_77nTsf.gsE2U0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tvxVhgq2VwxL2c0h812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pg.dWpfmFWVwdtZFtA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YZgGGpWvnNc5GhvGQY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qQgRHbm_VqtE9n80qa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8S2O1.L9j.iFTpcAJv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deIUyzucaD23hweJXF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V_ocPqrD3A9blIg4r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K_xTGc9c2RrWnXiLHc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CWdc.F0TIka25Etfkd4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YJp_v9ZP2wE_DgSKOp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qxqJ5fnMiHMVfu4iHUw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9iAIz508Nb1R7BNqh8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NUCOnxqgWeD8gSn4XZ1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8lhH5MUpvSKhDxkxAI1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oHYhObEfYyKoKBGHEk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KUwlVamkIhpav7pCP6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0BwoAu6tjVZqq5nn7d2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k9u2sp42Hfqgrb_vSE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0ubtU6jpJFyrnCC0LMw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QjJKY5Jp71uYQi_y7y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J.8.uai9hwCHyt66qg6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JgpJ2Vfj.9hbFOYgKYz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ChvwqOeFBVhn_5dqKFZ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9zlL8BcAZMvGxuXGcL2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CumgI3hgnF9R7nY7dt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C0RQmlQA6Lya8oeSXv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lkGby.bnocmy7A9aF0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UOE9ZNuxhYox7SrtcFQ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yPwvYAyk54vO4MjumY.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zCDO_hfs5JnmeAJ.if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lFj4FDfY2GsPd.ANrY1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CZNwkeQVzGi2y7nkwCU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XC45iimc106Z108.D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3vvhFjSs0NLF7jgU7sq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tYrBYWO3Vph5svPjhr.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B_JAW0YfZisdDTO5I3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eS2O.QC2OqNTs2I.5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8Ki6RRURUlLdapzzLc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ufT3VtrRhZpJeFpXBQX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yl1nJQTnL_NakJn40K4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dz_1_XV1T5ggWU_SpTj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oVX0g_pw2xjYAhVFDuZ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H7dOMUNa9RJGdkNwoIb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LpfdtIi5FRsYnmB6oJa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6xq9pLd3qJME_G4OZSX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oaKQV5O0XfI9HQ70.i1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8tMWWszybeiT3i8xAr6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xU1vI.LKBGGNSfCyieI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hAm9dMhVe5we3nKr6h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9kjbb8AinTXyGmcsZ_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UHcXwg4eO9.5w9H1iH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g8W.aOex.LI0DS207Rg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0miUa19l6x5ZlnYtjlp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dYodU4ogIyoFRQwLj33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Neyes1jGrbj4tWlX.gW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hkLTVz_psoa7.uo5_1F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iHIEKLPsgC8WtHbk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l.G7V.YDvFZ29AqAsg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TT7Lwp7zKZelFNXrTre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YiS2wGQWSqze0WtDml8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vfwQSIfCyNwzKFbbm2Z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fe3uooZJKf0dTBO7kuL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DA5TlwnhXET6NdzhzH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wayMXuvGAffOdJFiPgj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9yaXZ.3TYHu9rqAeC7b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A2U8RHp6Eajvmm5Hcc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TQhBP_vQWfvydT3E6l3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2Ze.SN8Tsh0wkdh.dJ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QRFZTgAYIJSgA3sfIc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.2miLpPkn0L3xKg1Hqx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QSCAt43CSd5BxzurgcFg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AD2F3AC-88EC-420A-9944-99471C836986}">
  <ds:schemaRefs>
    <ds:schemaRef ds:uri="d57067be-9d14-4795-a8ab-0027d10e2a03"/>
    <ds:schemaRef ds:uri="http://purl.org/dc/terms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1C9017-69F9-4A60-9EFE-26343DD0A2FD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05</TotalTime>
  <Words>154</Words>
  <Application>Microsoft Macintosh PowerPoint</Application>
  <PresentationFormat>Widescreen</PresentationFormat>
  <Paragraphs>7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Lato</vt:lpstr>
      <vt:lpstr>Open Sauce One</vt:lpstr>
      <vt:lpstr>Hypatos-theme</vt:lpstr>
      <vt:lpstr>think-cell Slide</vt:lpstr>
      <vt:lpstr>Testing Timeline – To be confirmed by WIL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P x HY Test Plan</dc:title>
  <dc:creator>Microsoft Office User</dc:creator>
  <cp:lastModifiedBy>Stephan Kuche</cp:lastModifiedBy>
  <cp:revision>13</cp:revision>
  <dcterms:created xsi:type="dcterms:W3CDTF">2023-03-02T14:07:47Z</dcterms:created>
  <dcterms:modified xsi:type="dcterms:W3CDTF">2024-03-03T09:0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